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3" r:id="rId1"/>
  </p:sldMasterIdLst>
  <p:sldIdLst>
    <p:sldId id="279" r:id="rId2"/>
    <p:sldId id="282" r:id="rId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223C6F"/>
    <a:srgbClr val="002060"/>
    <a:srgbClr val="004D86"/>
    <a:srgbClr val="000000"/>
    <a:srgbClr val="FFFFFF"/>
    <a:srgbClr val="F2F2F2"/>
    <a:srgbClr val="F5F5F5"/>
    <a:srgbClr val="003399"/>
    <a:srgbClr val="00589A"/>
    <a:srgbClr val="00518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191" autoAdjust="0"/>
    <p:restoredTop sz="94660"/>
  </p:normalViewPr>
  <p:slideViewPr>
    <p:cSldViewPr snapToGrid="0">
      <p:cViewPr varScale="1">
        <p:scale>
          <a:sx n="90" d="100"/>
          <a:sy n="90" d="100"/>
        </p:scale>
        <p:origin x="618" y="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slide" Target="slides/slide2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9" name="Group 18"/>
          <p:cNvGrpSpPr/>
          <p:nvPr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23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4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8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4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5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8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9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1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21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dirty="0" err="1" smtClean="0"/>
              <a:t>www.pwc.com</a:t>
            </a:r>
            <a:endParaRPr lang="en-GB" noProof="0" dirty="0"/>
          </a:p>
        </p:txBody>
      </p:sp>
      <p:grpSp>
        <p:nvGrpSpPr>
          <p:cNvPr id="16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0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228106407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mpty no Foo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707682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7824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poi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2" name="TextBox 11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5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sz="3200" baseline="0">
                <a:solidFill>
                  <a:schemeClr val="tx2"/>
                </a:solidFill>
              </a:defRPr>
            </a:lvl1pPr>
            <a:lvl2pPr>
              <a:buClr>
                <a:schemeClr val="tx2"/>
              </a:buClr>
              <a:defRPr sz="3200">
                <a:solidFill>
                  <a:schemeClr val="tx2"/>
                </a:solidFill>
              </a:defRPr>
            </a:lvl2pPr>
            <a:lvl3pPr>
              <a:buClr>
                <a:schemeClr val="tx2"/>
              </a:buClr>
              <a:defRPr sz="3200"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 sz="3200">
                <a:solidFill>
                  <a:schemeClr val="tx2"/>
                </a:solidFill>
              </a:defRPr>
            </a:lvl4pPr>
            <a:lvl5pPr>
              <a:buClr>
                <a:schemeClr val="tx2"/>
              </a:buClr>
              <a:defRPr sz="3200">
                <a:solidFill>
                  <a:schemeClr val="tx2"/>
                </a:solidFill>
              </a:defRPr>
            </a:lvl5pPr>
            <a:lvl6pPr>
              <a:buClr>
                <a:schemeClr val="tx2"/>
              </a:buClr>
              <a:defRPr sz="3200" baseline="0">
                <a:solidFill>
                  <a:schemeClr val="tx2"/>
                </a:solidFill>
              </a:defRPr>
            </a:lvl6pPr>
            <a:lvl7pPr>
              <a:buClr>
                <a:schemeClr val="tx2"/>
              </a:buClr>
              <a:buAutoNum type="alphaLcPeriod"/>
              <a:defRPr sz="3200" baseline="0">
                <a:solidFill>
                  <a:schemeClr val="tx2"/>
                </a:solidFill>
              </a:defRPr>
            </a:lvl7pPr>
            <a:lvl8pPr>
              <a:buClr>
                <a:schemeClr val="tx2"/>
              </a:buClr>
              <a:buNone/>
              <a:defRPr sz="3200">
                <a:solidFill>
                  <a:schemeClr val="tx2"/>
                </a:solidFill>
              </a:defRPr>
            </a:lvl8pPr>
            <a:lvl9pPr>
              <a:defRPr sz="3200"/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6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360737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Key point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lnSpc>
                <a:spcPct val="100000"/>
              </a:lnSpc>
              <a:defRPr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11200" y="1752600"/>
            <a:ext cx="10769600" cy="4419600"/>
          </a:xfrm>
        </p:spPr>
        <p:txBody>
          <a:bodyPr>
            <a:noAutofit/>
          </a:bodyPr>
          <a:lstStyle>
            <a:lvl1pPr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defRPr sz="3200" baseline="0">
                <a:solidFill>
                  <a:schemeClr val="bg1"/>
                </a:solidFill>
              </a:defRPr>
            </a:lvl1pPr>
            <a:lvl2pPr marL="444500" indent="-263525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2pPr>
            <a:lvl3pPr marL="714375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3pPr>
            <a:lvl4pPr marL="984250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4pPr>
            <a:lvl5pPr marL="1341438" indent="-266700">
              <a:lnSpc>
                <a:spcPts val="3600"/>
              </a:lnSpc>
              <a:spcBef>
                <a:spcPts val="0"/>
              </a:spcBef>
              <a:spcAft>
                <a:spcPts val="600"/>
              </a:spcAft>
              <a:buClr>
                <a:schemeClr val="bg1"/>
              </a:buClr>
              <a:defRPr sz="3200">
                <a:solidFill>
                  <a:schemeClr val="bg1"/>
                </a:solidFill>
              </a:defRPr>
            </a:lvl5pPr>
            <a:lvl6pPr marL="1611313" indent="-271463">
              <a:lnSpc>
                <a:spcPts val="3600"/>
              </a:lnSpc>
              <a:spcBef>
                <a:spcPts val="0"/>
              </a:spcBef>
              <a:spcAft>
                <a:spcPts val="60"/>
              </a:spcAft>
              <a:buClr>
                <a:schemeClr val="bg1"/>
              </a:buClr>
              <a:buFont typeface="Arial" pitchFamily="34" charset="0"/>
              <a:buNone/>
              <a:defRPr sz="2800">
                <a:solidFill>
                  <a:schemeClr val="bg1"/>
                </a:solidFill>
              </a:defRPr>
            </a:lvl6pPr>
            <a:lvl7pPr>
              <a:defRPr sz="2800">
                <a:solidFill>
                  <a:schemeClr val="bg1"/>
                </a:solidFill>
              </a:defRPr>
            </a:lvl7pPr>
            <a:lvl8pPr>
              <a:lnSpc>
                <a:spcPts val="3600"/>
              </a:lnSpc>
              <a:defRPr sz="2800">
                <a:solidFill>
                  <a:schemeClr val="bg1"/>
                </a:solidFill>
              </a:defRPr>
            </a:lvl8pPr>
            <a:lvl9pPr>
              <a:defRPr sz="28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2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9" name="TextBox 28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94783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2"/>
            <a:ext cx="10769600" cy="1066799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58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2"/>
            <a:ext cx="10769600" cy="1371599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4" name="TextBox 33"/>
          <p:cNvSpPr txBox="1"/>
          <p:nvPr/>
        </p:nvSpPr>
        <p:spPr>
          <a:xfrm>
            <a:off x="711200" y="6477002"/>
            <a:ext cx="3454400" cy="152399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193095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lour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aseline="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2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0"/>
            <a:ext cx="10769600" cy="13716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8" name="TextBox 37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" name="Shape 10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11596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Divider: Conten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Title 1"/>
          <p:cNvSpPr>
            <a:spLocks noGrp="1"/>
          </p:cNvSpPr>
          <p:nvPr>
            <p:ph type="ctrTitle"/>
          </p:nvPr>
        </p:nvSpPr>
        <p:spPr bwMode="black">
          <a:xfrm>
            <a:off x="711200" y="685800"/>
            <a:ext cx="10769600" cy="10668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20" name="Content Placeholder 19"/>
          <p:cNvSpPr>
            <a:spLocks noGrp="1"/>
          </p:cNvSpPr>
          <p:nvPr>
            <p:ph sz="quarter" idx="13"/>
          </p:nvPr>
        </p:nvSpPr>
        <p:spPr>
          <a:xfrm>
            <a:off x="711202" y="2819400"/>
            <a:ext cx="5283199" cy="3352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  <a:lvl6pPr>
              <a:buClr>
                <a:schemeClr val="bg1"/>
              </a:buCl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smtClean="0"/>
          </a:p>
        </p:txBody>
      </p:sp>
      <p:sp>
        <p:nvSpPr>
          <p:cNvPr id="33" name="Subtitle 2"/>
          <p:cNvSpPr>
            <a:spLocks noGrp="1"/>
          </p:cNvSpPr>
          <p:nvPr>
            <p:ph type="subTitle" idx="1"/>
          </p:nvPr>
        </p:nvSpPr>
        <p:spPr bwMode="black">
          <a:xfrm>
            <a:off x="711200" y="1905001"/>
            <a:ext cx="10769600" cy="762000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31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2" name="Shape 1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253977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Fixed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41" name="Shape 140"/>
          <p:cNvCxnSpPr/>
          <p:nvPr/>
        </p:nvCxnSpPr>
        <p:spPr>
          <a:xfrm rot="5400000" flipH="1" flipV="1">
            <a:off x="6820410" y="-3874008"/>
            <a:ext cx="152399" cy="9119616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2" name="Title 1"/>
          <p:cNvSpPr>
            <a:spLocks noGrp="1"/>
          </p:cNvSpPr>
          <p:nvPr>
            <p:ph type="ctrTitle" hasCustomPrompt="1"/>
          </p:nvPr>
        </p:nvSpPr>
        <p:spPr bwMode="black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tx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143" name="Subtitle 2"/>
          <p:cNvSpPr>
            <a:spLocks noGrp="1"/>
          </p:cNvSpPr>
          <p:nvPr>
            <p:ph type="subTitle" idx="1" hasCustomPrompt="1"/>
          </p:nvPr>
        </p:nvSpPr>
        <p:spPr bwMode="black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tx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144" name="Text Placeholder 31"/>
          <p:cNvSpPr>
            <a:spLocks noGrp="1"/>
          </p:cNvSpPr>
          <p:nvPr>
            <p:ph type="body" sz="quarter" idx="10" hasCustomPrompt="1"/>
          </p:nvPr>
        </p:nvSpPr>
        <p:spPr bwMode="black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grpSp>
        <p:nvGrpSpPr>
          <p:cNvPr id="102" name="Group 101"/>
          <p:cNvGrpSpPr>
            <a:grpSpLocks noChangeAspect="1"/>
          </p:cNvGrpSpPr>
          <p:nvPr/>
        </p:nvGrpSpPr>
        <p:grpSpPr>
          <a:xfrm>
            <a:off x="1291457" y="5768682"/>
            <a:ext cx="1643044" cy="935789"/>
            <a:chOff x="518032" y="-1032869"/>
            <a:chExt cx="6161413" cy="4678943"/>
          </a:xfrm>
        </p:grpSpPr>
        <p:grpSp>
          <p:nvGrpSpPr>
            <p:cNvPr id="103" name="Group 73"/>
            <p:cNvGrpSpPr>
              <a:grpSpLocks noChangeAspect="1"/>
            </p:cNvGrpSpPr>
            <p:nvPr/>
          </p:nvGrpSpPr>
          <p:grpSpPr>
            <a:xfrm>
              <a:off x="4438637" y="-1032863"/>
              <a:ext cx="2240792" cy="2011550"/>
              <a:chOff x="1905000" y="5715000"/>
              <a:chExt cx="445770" cy="381000"/>
            </a:xfrm>
          </p:grpSpPr>
          <p:sp>
            <p:nvSpPr>
              <p:cNvPr id="107" name="Rectangle 25"/>
              <p:cNvSpPr>
                <a:spLocks noChangeArrowheads="1"/>
              </p:cNvSpPr>
              <p:nvPr userDrawn="1"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8" name="Rectangle 26"/>
              <p:cNvSpPr>
                <a:spLocks noChangeArrowheads="1"/>
              </p:cNvSpPr>
              <p:nvPr userDrawn="1"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9" name="Rectangle 27"/>
              <p:cNvSpPr>
                <a:spLocks noChangeArrowheads="1"/>
              </p:cNvSpPr>
              <p:nvPr userDrawn="1"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0" name="Rectangle 28"/>
              <p:cNvSpPr>
                <a:spLocks noChangeArrowheads="1"/>
              </p:cNvSpPr>
              <p:nvPr userDrawn="1"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1" name="Rectangle 29"/>
              <p:cNvSpPr>
                <a:spLocks noChangeArrowheads="1"/>
              </p:cNvSpPr>
              <p:nvPr userDrawn="1"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2" name="Rectangle 30"/>
              <p:cNvSpPr>
                <a:spLocks noChangeArrowheads="1"/>
              </p:cNvSpPr>
              <p:nvPr userDrawn="1"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3" name="Rectangle 31"/>
              <p:cNvSpPr>
                <a:spLocks noChangeArrowheads="1"/>
              </p:cNvSpPr>
              <p:nvPr userDrawn="1"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4" name="Rectangle 32"/>
              <p:cNvSpPr>
                <a:spLocks noChangeArrowheads="1"/>
              </p:cNvSpPr>
              <p:nvPr userDrawn="1"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5" name="Freeform 33"/>
              <p:cNvSpPr>
                <a:spLocks/>
              </p:cNvSpPr>
              <p:nvPr userDrawn="1"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6" name="Rectangle 34"/>
              <p:cNvSpPr>
                <a:spLocks noChangeArrowheads="1"/>
              </p:cNvSpPr>
              <p:nvPr userDrawn="1"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7" name="Rectangle 35"/>
              <p:cNvSpPr>
                <a:spLocks noChangeArrowheads="1"/>
              </p:cNvSpPr>
              <p:nvPr userDrawn="1"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8" name="Rectangle 36"/>
              <p:cNvSpPr>
                <a:spLocks noChangeArrowheads="1"/>
              </p:cNvSpPr>
              <p:nvPr userDrawn="1"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19" name="Rectangle 25"/>
              <p:cNvSpPr>
                <a:spLocks noChangeArrowheads="1"/>
              </p:cNvSpPr>
              <p:nvPr/>
            </p:nvSpPr>
            <p:spPr bwMode="gray">
              <a:xfrm>
                <a:off x="2293620" y="5988118"/>
                <a:ext cx="57150" cy="107882"/>
              </a:xfrm>
              <a:prstGeom prst="rect">
                <a:avLst/>
              </a:prstGeom>
              <a:solidFill>
                <a:srgbClr val="F445F6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0" name="Rectangle 26"/>
              <p:cNvSpPr>
                <a:spLocks noChangeArrowheads="1"/>
              </p:cNvSpPr>
              <p:nvPr/>
            </p:nvSpPr>
            <p:spPr bwMode="gray">
              <a:xfrm>
                <a:off x="2132171" y="5757333"/>
                <a:ext cx="44291" cy="66914"/>
              </a:xfrm>
              <a:prstGeom prst="rect">
                <a:avLst/>
              </a:prstGeom>
              <a:solidFill>
                <a:srgbClr val="F6B67F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1" name="Rectangle 27"/>
              <p:cNvSpPr>
                <a:spLocks noChangeArrowheads="1"/>
              </p:cNvSpPr>
              <p:nvPr/>
            </p:nvSpPr>
            <p:spPr bwMode="gray">
              <a:xfrm>
                <a:off x="1905000" y="5715000"/>
                <a:ext cx="227171" cy="42333"/>
              </a:xfrm>
              <a:prstGeom prst="rect">
                <a:avLst/>
              </a:prstGeom>
              <a:solidFill>
                <a:srgbClr val="F48F17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2" name="Rectangle 28"/>
              <p:cNvSpPr>
                <a:spLocks noChangeArrowheads="1"/>
              </p:cNvSpPr>
              <p:nvPr/>
            </p:nvSpPr>
            <p:spPr bwMode="gray">
              <a:xfrm>
                <a:off x="1905000" y="5757333"/>
                <a:ext cx="227171" cy="66914"/>
              </a:xfrm>
              <a:prstGeom prst="rect">
                <a:avLst/>
              </a:prstGeom>
              <a:solidFill>
                <a:srgbClr val="EB660B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3" name="Rectangle 29"/>
              <p:cNvSpPr>
                <a:spLocks noChangeArrowheads="1"/>
              </p:cNvSpPr>
              <p:nvPr/>
            </p:nvSpPr>
            <p:spPr bwMode="gray">
              <a:xfrm>
                <a:off x="2176462" y="5824247"/>
                <a:ext cx="117158" cy="163871"/>
              </a:xfrm>
              <a:prstGeom prst="rect">
                <a:avLst/>
              </a:prstGeom>
              <a:solidFill>
                <a:srgbClr val="F3BF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4" name="Rectangle 30"/>
              <p:cNvSpPr>
                <a:spLocks noChangeArrowheads="1"/>
              </p:cNvSpPr>
              <p:nvPr/>
            </p:nvSpPr>
            <p:spPr bwMode="gray">
              <a:xfrm>
                <a:off x="2176462" y="5988118"/>
                <a:ext cx="117158" cy="107882"/>
              </a:xfrm>
              <a:prstGeom prst="rect">
                <a:avLst/>
              </a:prstGeom>
              <a:solidFill>
                <a:srgbClr val="E93409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5" name="Rectangle 31"/>
              <p:cNvSpPr>
                <a:spLocks noChangeArrowheads="1"/>
              </p:cNvSpPr>
              <p:nvPr/>
            </p:nvSpPr>
            <p:spPr bwMode="gray">
              <a:xfrm>
                <a:off x="2132171" y="5824247"/>
                <a:ext cx="44291" cy="163871"/>
              </a:xfrm>
              <a:prstGeom prst="rect">
                <a:avLst/>
              </a:prstGeom>
              <a:solidFill>
                <a:srgbClr val="EA88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6" name="Rectangle 32"/>
              <p:cNvSpPr>
                <a:spLocks noChangeArrowheads="1"/>
              </p:cNvSpPr>
              <p:nvPr/>
            </p:nvSpPr>
            <p:spPr bwMode="gray">
              <a:xfrm>
                <a:off x="2132171" y="5988118"/>
                <a:ext cx="44291" cy="107882"/>
              </a:xfrm>
              <a:prstGeom prst="rect">
                <a:avLst/>
              </a:prstGeom>
              <a:solidFill>
                <a:srgbClr val="E02504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7" name="Freeform 33"/>
              <p:cNvSpPr>
                <a:spLocks/>
              </p:cNvSpPr>
              <p:nvPr/>
            </p:nvSpPr>
            <p:spPr bwMode="gray">
              <a:xfrm>
                <a:off x="1905000" y="5824247"/>
                <a:ext cx="227171" cy="16387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159" y="0"/>
                  </a:cxn>
                  <a:cxn ang="0">
                    <a:pos x="159" y="120"/>
                  </a:cxn>
                  <a:cxn ang="0">
                    <a:pos x="99" y="120"/>
                  </a:cxn>
                  <a:cxn ang="0">
                    <a:pos x="99" y="80"/>
                  </a:cxn>
                  <a:cxn ang="0">
                    <a:pos x="0" y="80"/>
                  </a:cxn>
                  <a:cxn ang="0">
                    <a:pos x="0" y="0"/>
                  </a:cxn>
                </a:cxnLst>
                <a:rect l="0" t="0" r="r" b="b"/>
                <a:pathLst>
                  <a:path w="159" h="120">
                    <a:moveTo>
                      <a:pt x="0" y="0"/>
                    </a:moveTo>
                    <a:lnTo>
                      <a:pt x="159" y="0"/>
                    </a:lnTo>
                    <a:lnTo>
                      <a:pt x="159" y="120"/>
                    </a:lnTo>
                    <a:lnTo>
                      <a:pt x="99" y="120"/>
                    </a:lnTo>
                    <a:lnTo>
                      <a:pt x="99" y="80"/>
                    </a:lnTo>
                    <a:lnTo>
                      <a:pt x="0" y="80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rgbClr val="E04C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8" name="Rectangle 34"/>
              <p:cNvSpPr>
                <a:spLocks noChangeArrowheads="1"/>
              </p:cNvSpPr>
              <p:nvPr/>
            </p:nvSpPr>
            <p:spPr bwMode="gray">
              <a:xfrm>
                <a:off x="2046446" y="5988118"/>
                <a:ext cx="85725" cy="107882"/>
              </a:xfrm>
              <a:prstGeom prst="rect">
                <a:avLst/>
              </a:prstGeom>
              <a:solidFill>
                <a:srgbClr val="D614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29" name="Rectangle 35"/>
              <p:cNvSpPr>
                <a:spLocks noChangeArrowheads="1"/>
              </p:cNvSpPr>
              <p:nvPr/>
            </p:nvSpPr>
            <p:spPr bwMode="gray">
              <a:xfrm>
                <a:off x="1905000" y="5933495"/>
                <a:ext cx="141446" cy="54624"/>
              </a:xfrm>
              <a:prstGeom prst="rect">
                <a:avLst/>
              </a:prstGeom>
              <a:solidFill>
                <a:srgbClr val="C93C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30" name="Rectangle 36"/>
              <p:cNvSpPr>
                <a:spLocks noChangeArrowheads="1"/>
              </p:cNvSpPr>
              <p:nvPr/>
            </p:nvSpPr>
            <p:spPr bwMode="gray">
              <a:xfrm>
                <a:off x="1905000" y="5988118"/>
                <a:ext cx="141446" cy="107882"/>
              </a:xfrm>
              <a:prstGeom prst="rect">
                <a:avLst/>
              </a:prstGeom>
              <a:solidFill>
                <a:srgbClr val="C01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  <p:grpSp>
          <p:nvGrpSpPr>
            <p:cNvPr id="104" name="Group 32"/>
            <p:cNvGrpSpPr/>
            <p:nvPr/>
          </p:nvGrpSpPr>
          <p:grpSpPr>
            <a:xfrm>
              <a:off x="518032" y="978681"/>
              <a:ext cx="4572000" cy="2667393"/>
              <a:chOff x="518032" y="978681"/>
              <a:chExt cx="4572000" cy="2667393"/>
            </a:xfrm>
          </p:grpSpPr>
          <p:sp>
            <p:nvSpPr>
              <p:cNvPr id="105" name="Rectangle 37"/>
              <p:cNvSpPr>
                <a:spLocks noChangeArrowheads="1"/>
              </p:cNvSpPr>
              <p:nvPr userDrawn="1"/>
            </p:nvSpPr>
            <p:spPr bwMode="black">
              <a:xfrm>
                <a:off x="3295650" y="978681"/>
                <a:ext cx="1143000" cy="263229"/>
              </a:xfrm>
              <a:prstGeom prst="rect">
                <a:avLst/>
              </a:prstGeom>
              <a:solidFill>
                <a:srgbClr val="A10000"/>
              </a:solidFill>
              <a:ln w="0">
                <a:noFill/>
                <a:prstDash val="solid"/>
                <a:miter lim="800000"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  <p:sp>
            <p:nvSpPr>
              <p:cNvPr id="106" name="Freeform 7"/>
              <p:cNvSpPr>
                <a:spLocks noEditPoints="1"/>
              </p:cNvSpPr>
              <p:nvPr userDrawn="1"/>
            </p:nvSpPr>
            <p:spPr bwMode="black">
              <a:xfrm>
                <a:off x="518032" y="1922794"/>
                <a:ext cx="4572000" cy="1723280"/>
              </a:xfrm>
              <a:custGeom>
                <a:avLst/>
                <a:gdLst/>
                <a:ahLst/>
                <a:cxnLst>
                  <a:cxn ang="0">
                    <a:pos x="581" y="233"/>
                  </a:cxn>
                  <a:cxn ang="0">
                    <a:pos x="538" y="949"/>
                  </a:cxn>
                  <a:cxn ang="0">
                    <a:pos x="630" y="946"/>
                  </a:cxn>
                  <a:cxn ang="0">
                    <a:pos x="793" y="880"/>
                  </a:cxn>
                  <a:cxn ang="0">
                    <a:pos x="886" y="728"/>
                  </a:cxn>
                  <a:cxn ang="0">
                    <a:pos x="905" y="505"/>
                  </a:cxn>
                  <a:cxn ang="0">
                    <a:pos x="850" y="329"/>
                  </a:cxn>
                  <a:cxn ang="0">
                    <a:pos x="727" y="241"/>
                  </a:cxn>
                  <a:cxn ang="0">
                    <a:pos x="521" y="3"/>
                  </a:cxn>
                  <a:cxn ang="0">
                    <a:pos x="643" y="74"/>
                  </a:cxn>
                  <a:cxn ang="0">
                    <a:pos x="761" y="24"/>
                  </a:cxn>
                  <a:cxn ang="0">
                    <a:pos x="855" y="9"/>
                  </a:cxn>
                  <a:cxn ang="0">
                    <a:pos x="1026" y="40"/>
                  </a:cxn>
                  <a:cxn ang="0">
                    <a:pos x="1180" y="172"/>
                  </a:cxn>
                  <a:cxn ang="0">
                    <a:pos x="1265" y="383"/>
                  </a:cxn>
                  <a:cxn ang="0">
                    <a:pos x="1265" y="641"/>
                  </a:cxn>
                  <a:cxn ang="0">
                    <a:pos x="1175" y="857"/>
                  </a:cxn>
                  <a:cxn ang="0">
                    <a:pos x="1005" y="1006"/>
                  </a:cxn>
                  <a:cxn ang="0">
                    <a:pos x="766" y="1074"/>
                  </a:cxn>
                  <a:cxn ang="0">
                    <a:pos x="601" y="1074"/>
                  </a:cxn>
                  <a:cxn ang="0">
                    <a:pos x="692" y="1447"/>
                  </a:cxn>
                  <a:cxn ang="0">
                    <a:pos x="171" y="1408"/>
                  </a:cxn>
                  <a:cxn ang="0">
                    <a:pos x="413" y="3"/>
                  </a:cxn>
                  <a:cxn ang="0">
                    <a:pos x="3876" y="20"/>
                  </a:cxn>
                  <a:cxn ang="0">
                    <a:pos x="4036" y="100"/>
                  </a:cxn>
                  <a:cxn ang="0">
                    <a:pos x="4113" y="232"/>
                  </a:cxn>
                  <a:cxn ang="0">
                    <a:pos x="4091" y="362"/>
                  </a:cxn>
                  <a:cxn ang="0">
                    <a:pos x="3995" y="436"/>
                  </a:cxn>
                  <a:cxn ang="0">
                    <a:pos x="3859" y="438"/>
                  </a:cxn>
                  <a:cxn ang="0">
                    <a:pos x="3757" y="114"/>
                  </a:cxn>
                  <a:cxn ang="0">
                    <a:pos x="3597" y="187"/>
                  </a:cxn>
                  <a:cxn ang="0">
                    <a:pos x="3508" y="339"/>
                  </a:cxn>
                  <a:cxn ang="0">
                    <a:pos x="3489" y="565"/>
                  </a:cxn>
                  <a:cxn ang="0">
                    <a:pos x="3547" y="753"/>
                  </a:cxn>
                  <a:cxn ang="0">
                    <a:pos x="3668" y="869"/>
                  </a:cxn>
                  <a:cxn ang="0">
                    <a:pos x="3821" y="896"/>
                  </a:cxn>
                  <a:cxn ang="0">
                    <a:pos x="3931" y="872"/>
                  </a:cxn>
                  <a:cxn ang="0">
                    <a:pos x="4079" y="810"/>
                  </a:cxn>
                  <a:cxn ang="0">
                    <a:pos x="4016" y="1024"/>
                  </a:cxn>
                  <a:cxn ang="0">
                    <a:pos x="3830" y="1080"/>
                  </a:cxn>
                  <a:cxn ang="0">
                    <a:pos x="3651" y="1095"/>
                  </a:cxn>
                  <a:cxn ang="0">
                    <a:pos x="3426" y="1060"/>
                  </a:cxn>
                  <a:cxn ang="0">
                    <a:pos x="3255" y="947"/>
                  </a:cxn>
                  <a:cxn ang="0">
                    <a:pos x="3140" y="772"/>
                  </a:cxn>
                  <a:cxn ang="0">
                    <a:pos x="3101" y="561"/>
                  </a:cxn>
                  <a:cxn ang="0">
                    <a:pos x="3153" y="318"/>
                  </a:cxn>
                  <a:cxn ang="0">
                    <a:pos x="3293" y="135"/>
                  </a:cxn>
                  <a:cxn ang="0">
                    <a:pos x="3508" y="27"/>
                  </a:cxn>
                  <a:cxn ang="0">
                    <a:pos x="2910" y="0"/>
                  </a:cxn>
                  <a:cxn ang="0">
                    <a:pos x="3040" y="52"/>
                  </a:cxn>
                  <a:cxn ang="0">
                    <a:pos x="3093" y="178"/>
                  </a:cxn>
                  <a:cxn ang="0">
                    <a:pos x="3071" y="277"/>
                  </a:cxn>
                  <a:cxn ang="0">
                    <a:pos x="3004" y="393"/>
                  </a:cxn>
                  <a:cxn ang="0">
                    <a:pos x="2876" y="561"/>
                  </a:cxn>
                  <a:cxn ang="0">
                    <a:pos x="1784" y="1078"/>
                  </a:cxn>
                  <a:cxn ang="0">
                    <a:pos x="1313" y="118"/>
                  </a:cxn>
                  <a:cxn ang="0">
                    <a:pos x="2247" y="25"/>
                  </a:cxn>
                  <a:cxn ang="0">
                    <a:pos x="2759" y="62"/>
                  </a:cxn>
                  <a:cxn ang="0">
                    <a:pos x="2872" y="4"/>
                  </a:cxn>
                </a:cxnLst>
                <a:rect l="0" t="0" r="r" b="b"/>
                <a:pathLst>
                  <a:path w="4127" h="1544">
                    <a:moveTo>
                      <a:pt x="640" y="229"/>
                    </a:moveTo>
                    <a:lnTo>
                      <a:pt x="622" y="229"/>
                    </a:lnTo>
                    <a:lnTo>
                      <a:pt x="603" y="230"/>
                    </a:lnTo>
                    <a:lnTo>
                      <a:pt x="581" y="233"/>
                    </a:lnTo>
                    <a:lnTo>
                      <a:pt x="553" y="235"/>
                    </a:lnTo>
                    <a:lnTo>
                      <a:pt x="521" y="241"/>
                    </a:lnTo>
                    <a:lnTo>
                      <a:pt x="521" y="947"/>
                    </a:lnTo>
                    <a:lnTo>
                      <a:pt x="538" y="949"/>
                    </a:lnTo>
                    <a:lnTo>
                      <a:pt x="553" y="949"/>
                    </a:lnTo>
                    <a:lnTo>
                      <a:pt x="566" y="949"/>
                    </a:lnTo>
                    <a:lnTo>
                      <a:pt x="578" y="949"/>
                    </a:lnTo>
                    <a:lnTo>
                      <a:pt x="630" y="946"/>
                    </a:lnTo>
                    <a:lnTo>
                      <a:pt x="677" y="937"/>
                    </a:lnTo>
                    <a:lnTo>
                      <a:pt x="720" y="924"/>
                    </a:lnTo>
                    <a:lnTo>
                      <a:pt x="758" y="905"/>
                    </a:lnTo>
                    <a:lnTo>
                      <a:pt x="793" y="880"/>
                    </a:lnTo>
                    <a:lnTo>
                      <a:pt x="824" y="850"/>
                    </a:lnTo>
                    <a:lnTo>
                      <a:pt x="849" y="815"/>
                    </a:lnTo>
                    <a:lnTo>
                      <a:pt x="870" y="775"/>
                    </a:lnTo>
                    <a:lnTo>
                      <a:pt x="886" y="728"/>
                    </a:lnTo>
                    <a:lnTo>
                      <a:pt x="897" y="678"/>
                    </a:lnTo>
                    <a:lnTo>
                      <a:pt x="905" y="622"/>
                    </a:lnTo>
                    <a:lnTo>
                      <a:pt x="907" y="561"/>
                    </a:lnTo>
                    <a:lnTo>
                      <a:pt x="905" y="505"/>
                    </a:lnTo>
                    <a:lnTo>
                      <a:pt x="897" y="452"/>
                    </a:lnTo>
                    <a:lnTo>
                      <a:pt x="886" y="407"/>
                    </a:lnTo>
                    <a:lnTo>
                      <a:pt x="870" y="366"/>
                    </a:lnTo>
                    <a:lnTo>
                      <a:pt x="850" y="329"/>
                    </a:lnTo>
                    <a:lnTo>
                      <a:pt x="826" y="299"/>
                    </a:lnTo>
                    <a:lnTo>
                      <a:pt x="797" y="274"/>
                    </a:lnTo>
                    <a:lnTo>
                      <a:pt x="763" y="254"/>
                    </a:lnTo>
                    <a:lnTo>
                      <a:pt x="727" y="241"/>
                    </a:lnTo>
                    <a:lnTo>
                      <a:pt x="686" y="232"/>
                    </a:lnTo>
                    <a:lnTo>
                      <a:pt x="640" y="229"/>
                    </a:lnTo>
                    <a:close/>
                    <a:moveTo>
                      <a:pt x="413" y="3"/>
                    </a:moveTo>
                    <a:lnTo>
                      <a:pt x="521" y="3"/>
                    </a:lnTo>
                    <a:lnTo>
                      <a:pt x="521" y="143"/>
                    </a:lnTo>
                    <a:lnTo>
                      <a:pt x="566" y="117"/>
                    </a:lnTo>
                    <a:lnTo>
                      <a:pt x="607" y="93"/>
                    </a:lnTo>
                    <a:lnTo>
                      <a:pt x="643" y="74"/>
                    </a:lnTo>
                    <a:lnTo>
                      <a:pt x="677" y="57"/>
                    </a:lnTo>
                    <a:lnTo>
                      <a:pt x="707" y="44"/>
                    </a:lnTo>
                    <a:lnTo>
                      <a:pt x="735" y="33"/>
                    </a:lnTo>
                    <a:lnTo>
                      <a:pt x="761" y="24"/>
                    </a:lnTo>
                    <a:lnTo>
                      <a:pt x="785" y="18"/>
                    </a:lnTo>
                    <a:lnTo>
                      <a:pt x="809" y="13"/>
                    </a:lnTo>
                    <a:lnTo>
                      <a:pt x="831" y="10"/>
                    </a:lnTo>
                    <a:lnTo>
                      <a:pt x="855" y="9"/>
                    </a:lnTo>
                    <a:lnTo>
                      <a:pt x="879" y="8"/>
                    </a:lnTo>
                    <a:lnTo>
                      <a:pt x="931" y="12"/>
                    </a:lnTo>
                    <a:lnTo>
                      <a:pt x="980" y="23"/>
                    </a:lnTo>
                    <a:lnTo>
                      <a:pt x="1026" y="40"/>
                    </a:lnTo>
                    <a:lnTo>
                      <a:pt x="1070" y="64"/>
                    </a:lnTo>
                    <a:lnTo>
                      <a:pt x="1110" y="94"/>
                    </a:lnTo>
                    <a:lnTo>
                      <a:pt x="1148" y="130"/>
                    </a:lnTo>
                    <a:lnTo>
                      <a:pt x="1180" y="172"/>
                    </a:lnTo>
                    <a:lnTo>
                      <a:pt x="1209" y="218"/>
                    </a:lnTo>
                    <a:lnTo>
                      <a:pt x="1233" y="268"/>
                    </a:lnTo>
                    <a:lnTo>
                      <a:pt x="1252" y="324"/>
                    </a:lnTo>
                    <a:lnTo>
                      <a:pt x="1265" y="383"/>
                    </a:lnTo>
                    <a:lnTo>
                      <a:pt x="1274" y="446"/>
                    </a:lnTo>
                    <a:lnTo>
                      <a:pt x="1278" y="512"/>
                    </a:lnTo>
                    <a:lnTo>
                      <a:pt x="1274" y="578"/>
                    </a:lnTo>
                    <a:lnTo>
                      <a:pt x="1265" y="641"/>
                    </a:lnTo>
                    <a:lnTo>
                      <a:pt x="1252" y="701"/>
                    </a:lnTo>
                    <a:lnTo>
                      <a:pt x="1232" y="756"/>
                    </a:lnTo>
                    <a:lnTo>
                      <a:pt x="1205" y="809"/>
                    </a:lnTo>
                    <a:lnTo>
                      <a:pt x="1175" y="857"/>
                    </a:lnTo>
                    <a:lnTo>
                      <a:pt x="1140" y="901"/>
                    </a:lnTo>
                    <a:lnTo>
                      <a:pt x="1099" y="941"/>
                    </a:lnTo>
                    <a:lnTo>
                      <a:pt x="1054" y="976"/>
                    </a:lnTo>
                    <a:lnTo>
                      <a:pt x="1005" y="1006"/>
                    </a:lnTo>
                    <a:lnTo>
                      <a:pt x="951" y="1031"/>
                    </a:lnTo>
                    <a:lnTo>
                      <a:pt x="894" y="1051"/>
                    </a:lnTo>
                    <a:lnTo>
                      <a:pt x="831" y="1065"/>
                    </a:lnTo>
                    <a:lnTo>
                      <a:pt x="766" y="1074"/>
                    </a:lnTo>
                    <a:lnTo>
                      <a:pt x="696" y="1078"/>
                    </a:lnTo>
                    <a:lnTo>
                      <a:pt x="670" y="1078"/>
                    </a:lnTo>
                    <a:lnTo>
                      <a:pt x="637" y="1076"/>
                    </a:lnTo>
                    <a:lnTo>
                      <a:pt x="601" y="1074"/>
                    </a:lnTo>
                    <a:lnTo>
                      <a:pt x="561" y="1071"/>
                    </a:lnTo>
                    <a:lnTo>
                      <a:pt x="521" y="1068"/>
                    </a:lnTo>
                    <a:lnTo>
                      <a:pt x="521" y="1408"/>
                    </a:lnTo>
                    <a:lnTo>
                      <a:pt x="692" y="1447"/>
                    </a:lnTo>
                    <a:lnTo>
                      <a:pt x="692" y="1544"/>
                    </a:lnTo>
                    <a:lnTo>
                      <a:pt x="18" y="1544"/>
                    </a:lnTo>
                    <a:lnTo>
                      <a:pt x="18" y="1447"/>
                    </a:lnTo>
                    <a:lnTo>
                      <a:pt x="171" y="1408"/>
                    </a:lnTo>
                    <a:lnTo>
                      <a:pt x="171" y="229"/>
                    </a:lnTo>
                    <a:lnTo>
                      <a:pt x="0" y="229"/>
                    </a:lnTo>
                    <a:lnTo>
                      <a:pt x="0" y="128"/>
                    </a:lnTo>
                    <a:lnTo>
                      <a:pt x="413" y="3"/>
                    </a:lnTo>
                    <a:close/>
                    <a:moveTo>
                      <a:pt x="3711" y="0"/>
                    </a:moveTo>
                    <a:lnTo>
                      <a:pt x="3770" y="3"/>
                    </a:lnTo>
                    <a:lnTo>
                      <a:pt x="3825" y="9"/>
                    </a:lnTo>
                    <a:lnTo>
                      <a:pt x="3876" y="20"/>
                    </a:lnTo>
                    <a:lnTo>
                      <a:pt x="3923" y="34"/>
                    </a:lnTo>
                    <a:lnTo>
                      <a:pt x="3965" y="53"/>
                    </a:lnTo>
                    <a:lnTo>
                      <a:pt x="4004" y="75"/>
                    </a:lnTo>
                    <a:lnTo>
                      <a:pt x="4036" y="100"/>
                    </a:lnTo>
                    <a:lnTo>
                      <a:pt x="4064" y="129"/>
                    </a:lnTo>
                    <a:lnTo>
                      <a:pt x="4086" y="160"/>
                    </a:lnTo>
                    <a:lnTo>
                      <a:pt x="4103" y="194"/>
                    </a:lnTo>
                    <a:lnTo>
                      <a:pt x="4113" y="232"/>
                    </a:lnTo>
                    <a:lnTo>
                      <a:pt x="4117" y="271"/>
                    </a:lnTo>
                    <a:lnTo>
                      <a:pt x="4114" y="304"/>
                    </a:lnTo>
                    <a:lnTo>
                      <a:pt x="4105" y="334"/>
                    </a:lnTo>
                    <a:lnTo>
                      <a:pt x="4091" y="362"/>
                    </a:lnTo>
                    <a:lnTo>
                      <a:pt x="4074" y="387"/>
                    </a:lnTo>
                    <a:lnTo>
                      <a:pt x="4051" y="407"/>
                    </a:lnTo>
                    <a:lnTo>
                      <a:pt x="4025" y="423"/>
                    </a:lnTo>
                    <a:lnTo>
                      <a:pt x="3995" y="436"/>
                    </a:lnTo>
                    <a:lnTo>
                      <a:pt x="3961" y="443"/>
                    </a:lnTo>
                    <a:lnTo>
                      <a:pt x="3925" y="446"/>
                    </a:lnTo>
                    <a:lnTo>
                      <a:pt x="3891" y="444"/>
                    </a:lnTo>
                    <a:lnTo>
                      <a:pt x="3859" y="438"/>
                    </a:lnTo>
                    <a:lnTo>
                      <a:pt x="3826" y="428"/>
                    </a:lnTo>
                    <a:lnTo>
                      <a:pt x="3792" y="413"/>
                    </a:lnTo>
                    <a:lnTo>
                      <a:pt x="3757" y="394"/>
                    </a:lnTo>
                    <a:lnTo>
                      <a:pt x="3757" y="114"/>
                    </a:lnTo>
                    <a:lnTo>
                      <a:pt x="3711" y="125"/>
                    </a:lnTo>
                    <a:lnTo>
                      <a:pt x="3668" y="140"/>
                    </a:lnTo>
                    <a:lnTo>
                      <a:pt x="3631" y="162"/>
                    </a:lnTo>
                    <a:lnTo>
                      <a:pt x="3597" y="187"/>
                    </a:lnTo>
                    <a:lnTo>
                      <a:pt x="3568" y="218"/>
                    </a:lnTo>
                    <a:lnTo>
                      <a:pt x="3543" y="253"/>
                    </a:lnTo>
                    <a:lnTo>
                      <a:pt x="3523" y="294"/>
                    </a:lnTo>
                    <a:lnTo>
                      <a:pt x="3508" y="339"/>
                    </a:lnTo>
                    <a:lnTo>
                      <a:pt x="3497" y="391"/>
                    </a:lnTo>
                    <a:lnTo>
                      <a:pt x="3489" y="447"/>
                    </a:lnTo>
                    <a:lnTo>
                      <a:pt x="3487" y="507"/>
                    </a:lnTo>
                    <a:lnTo>
                      <a:pt x="3489" y="565"/>
                    </a:lnTo>
                    <a:lnTo>
                      <a:pt x="3497" y="617"/>
                    </a:lnTo>
                    <a:lnTo>
                      <a:pt x="3509" y="667"/>
                    </a:lnTo>
                    <a:lnTo>
                      <a:pt x="3526" y="712"/>
                    </a:lnTo>
                    <a:lnTo>
                      <a:pt x="3547" y="753"/>
                    </a:lnTo>
                    <a:lnTo>
                      <a:pt x="3571" y="790"/>
                    </a:lnTo>
                    <a:lnTo>
                      <a:pt x="3600" y="821"/>
                    </a:lnTo>
                    <a:lnTo>
                      <a:pt x="3632" y="847"/>
                    </a:lnTo>
                    <a:lnTo>
                      <a:pt x="3668" y="869"/>
                    </a:lnTo>
                    <a:lnTo>
                      <a:pt x="3707" y="885"/>
                    </a:lnTo>
                    <a:lnTo>
                      <a:pt x="3750" y="894"/>
                    </a:lnTo>
                    <a:lnTo>
                      <a:pt x="3795" y="897"/>
                    </a:lnTo>
                    <a:lnTo>
                      <a:pt x="3821" y="896"/>
                    </a:lnTo>
                    <a:lnTo>
                      <a:pt x="3847" y="894"/>
                    </a:lnTo>
                    <a:lnTo>
                      <a:pt x="3874" y="889"/>
                    </a:lnTo>
                    <a:lnTo>
                      <a:pt x="3901" y="881"/>
                    </a:lnTo>
                    <a:lnTo>
                      <a:pt x="3931" y="872"/>
                    </a:lnTo>
                    <a:lnTo>
                      <a:pt x="3964" y="861"/>
                    </a:lnTo>
                    <a:lnTo>
                      <a:pt x="3999" y="846"/>
                    </a:lnTo>
                    <a:lnTo>
                      <a:pt x="4036" y="830"/>
                    </a:lnTo>
                    <a:lnTo>
                      <a:pt x="4079" y="810"/>
                    </a:lnTo>
                    <a:lnTo>
                      <a:pt x="4127" y="787"/>
                    </a:lnTo>
                    <a:lnTo>
                      <a:pt x="4127" y="976"/>
                    </a:lnTo>
                    <a:lnTo>
                      <a:pt x="4069" y="1001"/>
                    </a:lnTo>
                    <a:lnTo>
                      <a:pt x="4016" y="1024"/>
                    </a:lnTo>
                    <a:lnTo>
                      <a:pt x="3966" y="1041"/>
                    </a:lnTo>
                    <a:lnTo>
                      <a:pt x="3919" y="1058"/>
                    </a:lnTo>
                    <a:lnTo>
                      <a:pt x="3874" y="1070"/>
                    </a:lnTo>
                    <a:lnTo>
                      <a:pt x="3830" y="1080"/>
                    </a:lnTo>
                    <a:lnTo>
                      <a:pt x="3786" y="1086"/>
                    </a:lnTo>
                    <a:lnTo>
                      <a:pt x="3742" y="1091"/>
                    </a:lnTo>
                    <a:lnTo>
                      <a:pt x="3697" y="1094"/>
                    </a:lnTo>
                    <a:lnTo>
                      <a:pt x="3651" y="1095"/>
                    </a:lnTo>
                    <a:lnTo>
                      <a:pt x="3588" y="1093"/>
                    </a:lnTo>
                    <a:lnTo>
                      <a:pt x="3530" y="1086"/>
                    </a:lnTo>
                    <a:lnTo>
                      <a:pt x="3476" y="1075"/>
                    </a:lnTo>
                    <a:lnTo>
                      <a:pt x="3426" y="1060"/>
                    </a:lnTo>
                    <a:lnTo>
                      <a:pt x="3378" y="1039"/>
                    </a:lnTo>
                    <a:lnTo>
                      <a:pt x="3334" y="1014"/>
                    </a:lnTo>
                    <a:lnTo>
                      <a:pt x="3294" y="984"/>
                    </a:lnTo>
                    <a:lnTo>
                      <a:pt x="3255" y="947"/>
                    </a:lnTo>
                    <a:lnTo>
                      <a:pt x="3219" y="907"/>
                    </a:lnTo>
                    <a:lnTo>
                      <a:pt x="3188" y="865"/>
                    </a:lnTo>
                    <a:lnTo>
                      <a:pt x="3162" y="820"/>
                    </a:lnTo>
                    <a:lnTo>
                      <a:pt x="3140" y="772"/>
                    </a:lnTo>
                    <a:lnTo>
                      <a:pt x="3124" y="722"/>
                    </a:lnTo>
                    <a:lnTo>
                      <a:pt x="3111" y="670"/>
                    </a:lnTo>
                    <a:lnTo>
                      <a:pt x="3104" y="616"/>
                    </a:lnTo>
                    <a:lnTo>
                      <a:pt x="3101" y="561"/>
                    </a:lnTo>
                    <a:lnTo>
                      <a:pt x="3105" y="494"/>
                    </a:lnTo>
                    <a:lnTo>
                      <a:pt x="3115" y="433"/>
                    </a:lnTo>
                    <a:lnTo>
                      <a:pt x="3130" y="373"/>
                    </a:lnTo>
                    <a:lnTo>
                      <a:pt x="3153" y="318"/>
                    </a:lnTo>
                    <a:lnTo>
                      <a:pt x="3179" y="267"/>
                    </a:lnTo>
                    <a:lnTo>
                      <a:pt x="3213" y="219"/>
                    </a:lnTo>
                    <a:lnTo>
                      <a:pt x="3250" y="175"/>
                    </a:lnTo>
                    <a:lnTo>
                      <a:pt x="3293" y="135"/>
                    </a:lnTo>
                    <a:lnTo>
                      <a:pt x="3341" y="102"/>
                    </a:lnTo>
                    <a:lnTo>
                      <a:pt x="3392" y="72"/>
                    </a:lnTo>
                    <a:lnTo>
                      <a:pt x="3448" y="47"/>
                    </a:lnTo>
                    <a:lnTo>
                      <a:pt x="3508" y="27"/>
                    </a:lnTo>
                    <a:lnTo>
                      <a:pt x="3573" y="12"/>
                    </a:lnTo>
                    <a:lnTo>
                      <a:pt x="3640" y="3"/>
                    </a:lnTo>
                    <a:lnTo>
                      <a:pt x="3711" y="0"/>
                    </a:lnTo>
                    <a:close/>
                    <a:moveTo>
                      <a:pt x="2910" y="0"/>
                    </a:moveTo>
                    <a:lnTo>
                      <a:pt x="2948" y="4"/>
                    </a:lnTo>
                    <a:lnTo>
                      <a:pt x="2983" y="14"/>
                    </a:lnTo>
                    <a:lnTo>
                      <a:pt x="3014" y="30"/>
                    </a:lnTo>
                    <a:lnTo>
                      <a:pt x="3040" y="52"/>
                    </a:lnTo>
                    <a:lnTo>
                      <a:pt x="3063" y="78"/>
                    </a:lnTo>
                    <a:lnTo>
                      <a:pt x="3079" y="109"/>
                    </a:lnTo>
                    <a:lnTo>
                      <a:pt x="3089" y="142"/>
                    </a:lnTo>
                    <a:lnTo>
                      <a:pt x="3093" y="178"/>
                    </a:lnTo>
                    <a:lnTo>
                      <a:pt x="3091" y="203"/>
                    </a:lnTo>
                    <a:lnTo>
                      <a:pt x="3088" y="227"/>
                    </a:lnTo>
                    <a:lnTo>
                      <a:pt x="3081" y="252"/>
                    </a:lnTo>
                    <a:lnTo>
                      <a:pt x="3071" y="277"/>
                    </a:lnTo>
                    <a:lnTo>
                      <a:pt x="3060" y="303"/>
                    </a:lnTo>
                    <a:lnTo>
                      <a:pt x="3044" y="331"/>
                    </a:lnTo>
                    <a:lnTo>
                      <a:pt x="3025" y="361"/>
                    </a:lnTo>
                    <a:lnTo>
                      <a:pt x="3004" y="393"/>
                    </a:lnTo>
                    <a:lnTo>
                      <a:pt x="2978" y="429"/>
                    </a:lnTo>
                    <a:lnTo>
                      <a:pt x="2948" y="468"/>
                    </a:lnTo>
                    <a:lnTo>
                      <a:pt x="2914" y="512"/>
                    </a:lnTo>
                    <a:lnTo>
                      <a:pt x="2876" y="561"/>
                    </a:lnTo>
                    <a:lnTo>
                      <a:pt x="2472" y="1078"/>
                    </a:lnTo>
                    <a:lnTo>
                      <a:pt x="2182" y="1078"/>
                    </a:lnTo>
                    <a:lnTo>
                      <a:pt x="2182" y="424"/>
                    </a:lnTo>
                    <a:lnTo>
                      <a:pt x="1784" y="1078"/>
                    </a:lnTo>
                    <a:lnTo>
                      <a:pt x="1518" y="1078"/>
                    </a:lnTo>
                    <a:lnTo>
                      <a:pt x="1518" y="234"/>
                    </a:lnTo>
                    <a:lnTo>
                      <a:pt x="1313" y="214"/>
                    </a:lnTo>
                    <a:lnTo>
                      <a:pt x="1313" y="118"/>
                    </a:lnTo>
                    <a:lnTo>
                      <a:pt x="1690" y="25"/>
                    </a:lnTo>
                    <a:lnTo>
                      <a:pt x="1832" y="25"/>
                    </a:lnTo>
                    <a:lnTo>
                      <a:pt x="1832" y="713"/>
                    </a:lnTo>
                    <a:lnTo>
                      <a:pt x="2247" y="25"/>
                    </a:lnTo>
                    <a:lnTo>
                      <a:pt x="2497" y="25"/>
                    </a:lnTo>
                    <a:lnTo>
                      <a:pt x="2497" y="822"/>
                    </a:lnTo>
                    <a:lnTo>
                      <a:pt x="2759" y="473"/>
                    </a:lnTo>
                    <a:lnTo>
                      <a:pt x="2759" y="62"/>
                    </a:lnTo>
                    <a:lnTo>
                      <a:pt x="2779" y="44"/>
                    </a:lnTo>
                    <a:lnTo>
                      <a:pt x="2806" y="27"/>
                    </a:lnTo>
                    <a:lnTo>
                      <a:pt x="2837" y="13"/>
                    </a:lnTo>
                    <a:lnTo>
                      <a:pt x="2872" y="4"/>
                    </a:lnTo>
                    <a:lnTo>
                      <a:pt x="2910" y="0"/>
                    </a:lnTo>
                    <a:close/>
                  </a:path>
                </a:pathLst>
              </a:custGeom>
              <a:solidFill>
                <a:srgbClr val="000000"/>
              </a:solidFill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sz="1800" noProof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59763489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lient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2" name="Group 31"/>
          <p:cNvGrpSpPr/>
          <p:nvPr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35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6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7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8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9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0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1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52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31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812801" y="3048000"/>
            <a:ext cx="1219200" cy="762000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3" name="Group 31"/>
          <p:cNvGrpSpPr/>
          <p:nvPr/>
        </p:nvGrpSpPr>
        <p:grpSpPr>
          <a:xfrm>
            <a:off x="652115" y="2901698"/>
            <a:ext cx="1613003" cy="151219"/>
            <a:chOff x="489087" y="2521685"/>
            <a:chExt cx="1209752" cy="151219"/>
          </a:xfrm>
        </p:grpSpPr>
        <p:cxnSp>
          <p:nvCxnSpPr>
            <p:cNvPr id="33" name="Straight Connector 32"/>
            <p:cNvCxnSpPr/>
            <p:nvPr userDrawn="1"/>
          </p:nvCxnSpPr>
          <p:spPr>
            <a:xfrm rot="10800000">
              <a:off x="489087" y="2521686"/>
              <a:ext cx="1209752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 userDrawn="1"/>
          </p:nvCxnSpPr>
          <p:spPr>
            <a:xfrm rot="5400000">
              <a:off x="413478" y="2597295"/>
              <a:ext cx="151219" cy="0"/>
            </a:xfrm>
            <a:prstGeom prst="line">
              <a:avLst/>
            </a:prstGeom>
            <a:ln w="12700">
              <a:solidFill>
                <a:schemeClr val="tx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45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smtClean="0"/>
              <a:t>Click to add the presentation’s main title</a:t>
            </a:r>
            <a:endParaRPr lang="en-GB" noProof="0"/>
          </a:p>
        </p:txBody>
      </p:sp>
      <p:sp>
        <p:nvSpPr>
          <p:cNvPr id="46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47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grpSp>
        <p:nvGrpSpPr>
          <p:cNvPr id="96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97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98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276480411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7" name="Group 26"/>
          <p:cNvGrpSpPr/>
          <p:nvPr/>
        </p:nvGrpSpPr>
        <p:grpSpPr bwMode="gray">
          <a:xfrm>
            <a:off x="2336801" y="2"/>
            <a:ext cx="9855200" cy="6176009"/>
            <a:chOff x="19140488" y="13674"/>
            <a:chExt cx="7443798" cy="6145827"/>
          </a:xfrm>
        </p:grpSpPr>
        <p:sp>
          <p:nvSpPr>
            <p:cNvPr id="28" name="Rectangle 17"/>
            <p:cNvSpPr>
              <a:spLocks noChangeArrowheads="1"/>
            </p:cNvSpPr>
            <p:nvPr/>
          </p:nvSpPr>
          <p:spPr bwMode="gray">
            <a:xfrm>
              <a:off x="19140488" y="4188799"/>
              <a:ext cx="2302206" cy="1970702"/>
            </a:xfrm>
            <a:prstGeom prst="rect">
              <a:avLst/>
            </a:prstGeom>
            <a:solidFill>
              <a:srgbClr val="9A170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29" name="Rectangle 7"/>
            <p:cNvSpPr>
              <a:spLocks noChangeArrowheads="1"/>
            </p:cNvSpPr>
            <p:nvPr/>
          </p:nvSpPr>
          <p:spPr bwMode="gray">
            <a:xfrm>
              <a:off x="25663403" y="4032250"/>
              <a:ext cx="920883" cy="2127250"/>
            </a:xfrm>
            <a:prstGeom prst="rect">
              <a:avLst/>
            </a:prstGeom>
            <a:solidFill>
              <a:srgbClr val="F3BE2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0" name="Rectangle 8"/>
            <p:cNvSpPr>
              <a:spLocks noChangeArrowheads="1"/>
            </p:cNvSpPr>
            <p:nvPr/>
          </p:nvSpPr>
          <p:spPr bwMode="gray">
            <a:xfrm>
              <a:off x="25049482" y="2899477"/>
              <a:ext cx="734694" cy="1289321"/>
            </a:xfrm>
            <a:prstGeom prst="rect">
              <a:avLst/>
            </a:prstGeom>
            <a:solidFill>
              <a:srgbClr val="F3BC87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1" name="Rectangle 9"/>
            <p:cNvSpPr>
              <a:spLocks noChangeArrowheads="1"/>
            </p:cNvSpPr>
            <p:nvPr/>
          </p:nvSpPr>
          <p:spPr bwMode="gray">
            <a:xfrm>
              <a:off x="25049482" y="4032250"/>
              <a:ext cx="734693" cy="2127250"/>
            </a:xfrm>
            <a:prstGeom prst="rect">
              <a:avLst/>
            </a:prstGeom>
            <a:solidFill>
              <a:srgbClr val="E88C1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2" name="Rectangle 11"/>
            <p:cNvSpPr>
              <a:spLocks noChangeArrowheads="1"/>
            </p:cNvSpPr>
            <p:nvPr/>
          </p:nvSpPr>
          <p:spPr bwMode="gray">
            <a:xfrm>
              <a:off x="24665780" y="706365"/>
              <a:ext cx="477045" cy="2263848"/>
            </a:xfrm>
            <a:prstGeom prst="rect">
              <a:avLst/>
            </a:prstGeom>
            <a:solidFill>
              <a:srgbClr val="E669A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33" name="Rectangle 12"/>
            <p:cNvSpPr>
              <a:spLocks noChangeArrowheads="1"/>
            </p:cNvSpPr>
            <p:nvPr/>
          </p:nvSpPr>
          <p:spPr bwMode="gray">
            <a:xfrm>
              <a:off x="24665780" y="2899478"/>
              <a:ext cx="477045" cy="1289321"/>
            </a:xfrm>
            <a:prstGeom prst="rect">
              <a:avLst/>
            </a:prstGeom>
            <a:solidFill>
              <a:srgbClr val="DB4D56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gray">
            <a:xfrm>
              <a:off x="24665780" y="4032250"/>
              <a:ext cx="477045" cy="2127250"/>
            </a:xfrm>
            <a:prstGeom prst="rect">
              <a:avLst/>
            </a:prstGeom>
            <a:solidFill>
              <a:srgbClr val="D13A0D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1" name="Rectangle 14"/>
            <p:cNvSpPr>
              <a:spLocks noChangeArrowheads="1"/>
            </p:cNvSpPr>
            <p:nvPr/>
          </p:nvSpPr>
          <p:spPr bwMode="gray">
            <a:xfrm>
              <a:off x="19140488" y="669925"/>
              <a:ext cx="5662612" cy="2300288"/>
            </a:xfrm>
            <a:prstGeom prst="rect">
              <a:avLst/>
            </a:prstGeom>
            <a:solidFill>
              <a:srgbClr val="D74021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2" name="Rectangle 15"/>
            <p:cNvSpPr>
              <a:spLocks noChangeArrowheads="1"/>
            </p:cNvSpPr>
            <p:nvPr/>
          </p:nvSpPr>
          <p:spPr bwMode="gray">
            <a:xfrm>
              <a:off x="19140488" y="2899478"/>
              <a:ext cx="5662612" cy="1289321"/>
            </a:xfrm>
            <a:prstGeom prst="rect">
              <a:avLst/>
            </a:prstGeom>
            <a:solidFill>
              <a:srgbClr val="CD2F1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3" name="Freeform 16"/>
            <p:cNvSpPr>
              <a:spLocks/>
            </p:cNvSpPr>
            <p:nvPr/>
          </p:nvSpPr>
          <p:spPr bwMode="gray">
            <a:xfrm>
              <a:off x="19140488" y="4032250"/>
              <a:ext cx="5662612" cy="2127250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67" y="0"/>
                </a:cxn>
                <a:cxn ang="0">
                  <a:pos x="3567" y="1340"/>
                </a:cxn>
                <a:cxn ang="0">
                  <a:pos x="1372" y="1340"/>
                </a:cxn>
                <a:cxn ang="0">
                  <a:pos x="1372" y="181"/>
                </a:cxn>
                <a:cxn ang="0">
                  <a:pos x="0" y="181"/>
                </a:cxn>
                <a:cxn ang="0">
                  <a:pos x="0" y="0"/>
                </a:cxn>
              </a:cxnLst>
              <a:rect l="0" t="0" r="r" b="b"/>
              <a:pathLst>
                <a:path w="3567" h="1340">
                  <a:moveTo>
                    <a:pt x="0" y="0"/>
                  </a:moveTo>
                  <a:lnTo>
                    <a:pt x="3567" y="0"/>
                  </a:lnTo>
                  <a:lnTo>
                    <a:pt x="3567" y="1340"/>
                  </a:lnTo>
                  <a:lnTo>
                    <a:pt x="1372" y="1340"/>
                  </a:lnTo>
                  <a:lnTo>
                    <a:pt x="1372" y="181"/>
                  </a:lnTo>
                  <a:lnTo>
                    <a:pt x="0" y="181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C42303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  <p:sp>
          <p:nvSpPr>
            <p:cNvPr id="44" name="Rectangle 10"/>
            <p:cNvSpPr>
              <a:spLocks noChangeArrowheads="1"/>
            </p:cNvSpPr>
            <p:nvPr/>
          </p:nvSpPr>
          <p:spPr bwMode="gray">
            <a:xfrm>
              <a:off x="19140488" y="13674"/>
              <a:ext cx="5662612" cy="692692"/>
            </a:xfrm>
            <a:prstGeom prst="rect">
              <a:avLst/>
            </a:prstGeom>
            <a:solidFill>
              <a:srgbClr val="EE9C34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/>
            </a:p>
          </p:txBody>
        </p:sp>
      </p:grpSp>
      <p:sp>
        <p:nvSpPr>
          <p:cNvPr id="54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55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56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sp>
        <p:nvSpPr>
          <p:cNvPr id="17" name="Picture Placeholder 76"/>
          <p:cNvSpPr>
            <a:spLocks noGrp="1"/>
          </p:cNvSpPr>
          <p:nvPr>
            <p:ph type="pic" sz="quarter" idx="13"/>
          </p:nvPr>
        </p:nvSpPr>
        <p:spPr>
          <a:xfrm>
            <a:off x="2336800" y="2899978"/>
            <a:ext cx="8432800" cy="3272223"/>
          </a:xfrm>
        </p:spPr>
        <p:txBody>
          <a:bodyPr/>
          <a:lstStyle>
            <a:lvl1pPr>
              <a:defRPr sz="1400"/>
            </a:lvl1pPr>
          </a:lstStyle>
          <a:p>
            <a:r>
              <a:rPr lang="en-US" noProof="0" smtClean="0"/>
              <a:t>Click icon to add picture</a:t>
            </a:r>
            <a:endParaRPr lang="en-GB" noProof="0" dirty="0"/>
          </a:p>
        </p:txBody>
      </p:sp>
      <p:grpSp>
        <p:nvGrpSpPr>
          <p:cNvPr id="18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9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rgbClr val="A10000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21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34603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1752600"/>
            <a:ext cx="107696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2" name="TextBox 31"/>
          <p:cNvSpPr txBox="1"/>
          <p:nvPr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5" name="Shape 14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049625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: Col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Rectangle 649"/>
          <p:cNvSpPr>
            <a:spLocks noChangeArrowheads="1"/>
          </p:cNvSpPr>
          <p:nvPr/>
        </p:nvSpPr>
        <p:spPr bwMode="gray">
          <a:xfrm>
            <a:off x="9855200" y="685802"/>
            <a:ext cx="2336800" cy="5486399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/>
          </a:p>
        </p:txBody>
      </p:sp>
      <p:sp>
        <p:nvSpPr>
          <p:cNvPr id="81" name="Rectangle 648"/>
          <p:cNvSpPr>
            <a:spLocks noChangeArrowheads="1"/>
          </p:cNvSpPr>
          <p:nvPr/>
        </p:nvSpPr>
        <p:spPr bwMode="gray">
          <a:xfrm>
            <a:off x="2336800" y="0"/>
            <a:ext cx="7518400" cy="685800"/>
          </a:xfrm>
          <a:prstGeom prst="rect">
            <a:avLst/>
          </a:prstGeom>
          <a:solidFill>
            <a:schemeClr val="tx2">
              <a:lumMod val="60000"/>
              <a:lumOff val="40000"/>
            </a:schemeClr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/>
          </a:p>
        </p:txBody>
      </p:sp>
      <p:sp>
        <p:nvSpPr>
          <p:cNvPr id="83" name="Rectangle 650"/>
          <p:cNvSpPr>
            <a:spLocks noChangeArrowheads="1"/>
          </p:cNvSpPr>
          <p:nvPr/>
        </p:nvSpPr>
        <p:spPr bwMode="gray">
          <a:xfrm>
            <a:off x="2336800" y="685800"/>
            <a:ext cx="7518400" cy="5486400"/>
          </a:xfrm>
          <a:prstGeom prst="rect">
            <a:avLst/>
          </a:prstGeom>
          <a:solidFill>
            <a:schemeClr val="tx2"/>
          </a:solidFill>
          <a:ln w="0">
            <a:noFill/>
            <a:prstDash val="solid"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GB" sz="1800" noProof="0"/>
          </a:p>
        </p:txBody>
      </p:sp>
      <p:sp>
        <p:nvSpPr>
          <p:cNvPr id="50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2527301" y="838200"/>
            <a:ext cx="7124700" cy="914400"/>
          </a:xfrm>
        </p:spPr>
        <p:txBody>
          <a:bodyPr anchor="t" anchorCtr="0">
            <a:noAutofit/>
          </a:bodyPr>
          <a:lstStyle>
            <a:lvl1pPr>
              <a:lnSpc>
                <a:spcPct val="90000"/>
              </a:lnSpc>
              <a:defRPr sz="3200" b="1" i="1" baseline="0">
                <a:solidFill>
                  <a:schemeClr val="bg1"/>
                </a:solidFill>
              </a:defRPr>
            </a:lvl1pPr>
          </a:lstStyle>
          <a:p>
            <a:r>
              <a:rPr lang="en-GB" noProof="0" dirty="0" smtClean="0"/>
              <a:t>Click to add the presentation’s main title</a:t>
            </a:r>
            <a:endParaRPr lang="en-GB" noProof="0" dirty="0"/>
          </a:p>
        </p:txBody>
      </p:sp>
      <p:sp>
        <p:nvSpPr>
          <p:cNvPr id="51" name="Subtitle 2"/>
          <p:cNvSpPr>
            <a:spLocks noGrp="1"/>
          </p:cNvSpPr>
          <p:nvPr>
            <p:ph type="subTitle" idx="1" hasCustomPrompt="1"/>
          </p:nvPr>
        </p:nvSpPr>
        <p:spPr bwMode="white">
          <a:xfrm>
            <a:off x="2527301" y="1828800"/>
            <a:ext cx="7124700" cy="914401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3200" baseline="0">
                <a:solidFill>
                  <a:schemeClr val="bg1"/>
                </a:solidFill>
                <a:latin typeface="+mj-lt"/>
              </a:defRPr>
            </a:lvl1pPr>
            <a:lvl2pPr marL="0" indent="0" algn="l">
              <a:buNone/>
              <a:defRPr sz="1800">
                <a:solidFill>
                  <a:schemeClr val="bg1"/>
                </a:solidFill>
                <a:latin typeface="+mj-lt"/>
              </a:defRPr>
            </a:lvl2pPr>
            <a:lvl3pPr marL="457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3pPr>
            <a:lvl4pPr marL="914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4pPr>
            <a:lvl5pPr marL="13716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5pPr>
            <a:lvl6pPr marL="18288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6pPr>
            <a:lvl7pPr marL="22860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7pPr>
            <a:lvl8pPr marL="27432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8pPr>
            <a:lvl9pPr marL="3200400" indent="0" algn="l">
              <a:buNone/>
              <a:defRPr sz="1800">
                <a:solidFill>
                  <a:schemeClr val="bg1"/>
                </a:solidFill>
                <a:latin typeface="+mj-lt"/>
              </a:defRPr>
            </a:lvl9pPr>
          </a:lstStyle>
          <a:p>
            <a:r>
              <a:rPr lang="en-GB" noProof="0" dirty="0" smtClean="0"/>
              <a:t>Subtitle and date (move higher if title is only one line)</a:t>
            </a:r>
          </a:p>
        </p:txBody>
      </p:sp>
      <p:sp>
        <p:nvSpPr>
          <p:cNvPr id="52" name="Text Placeholder 31"/>
          <p:cNvSpPr>
            <a:spLocks noGrp="1"/>
          </p:cNvSpPr>
          <p:nvPr>
            <p:ph type="body" sz="quarter" idx="10" hasCustomPrompt="1"/>
          </p:nvPr>
        </p:nvSpPr>
        <p:spPr bwMode="white">
          <a:xfrm>
            <a:off x="2527300" y="374904"/>
            <a:ext cx="5474208" cy="146304"/>
          </a:xfrm>
        </p:spPr>
        <p:txBody>
          <a:bodyPr/>
          <a:lstStyle>
            <a:lvl1pPr>
              <a:defRPr sz="11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00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GB" noProof="0" smtClean="0"/>
              <a:t>www.pwc.com</a:t>
            </a:r>
            <a:endParaRPr lang="en-GB" noProof="0"/>
          </a:p>
        </p:txBody>
      </p:sp>
      <p:grpSp>
        <p:nvGrpSpPr>
          <p:cNvPr id="11" name="Group 32"/>
          <p:cNvGrpSpPr/>
          <p:nvPr/>
        </p:nvGrpSpPr>
        <p:grpSpPr>
          <a:xfrm>
            <a:off x="1291456" y="6170992"/>
            <a:ext cx="1219200" cy="533479"/>
            <a:chOff x="518032" y="978681"/>
            <a:chExt cx="4572000" cy="2667393"/>
          </a:xfrm>
        </p:grpSpPr>
        <p:sp>
          <p:nvSpPr>
            <p:cNvPr id="12" name="Rectangle 37"/>
            <p:cNvSpPr>
              <a:spLocks noChangeArrowheads="1"/>
            </p:cNvSpPr>
            <p:nvPr userDrawn="1"/>
          </p:nvSpPr>
          <p:spPr bwMode="black">
            <a:xfrm>
              <a:off x="3295650" y="978681"/>
              <a:ext cx="1143000" cy="263229"/>
            </a:xfrm>
            <a:prstGeom prst="rect">
              <a:avLst/>
            </a:prstGeom>
            <a:solidFill>
              <a:schemeClr val="tx2"/>
            </a:solidFill>
            <a:ln w="0">
              <a:noFill/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  <p:sp>
          <p:nvSpPr>
            <p:cNvPr id="13" name="Freeform 7"/>
            <p:cNvSpPr>
              <a:spLocks noEditPoints="1"/>
            </p:cNvSpPr>
            <p:nvPr userDrawn="1"/>
          </p:nvSpPr>
          <p:spPr bwMode="black">
            <a:xfrm>
              <a:off x="518032" y="1922794"/>
              <a:ext cx="4572000" cy="1723280"/>
            </a:xfrm>
            <a:custGeom>
              <a:avLst/>
              <a:gdLst/>
              <a:ahLst/>
              <a:cxnLst>
                <a:cxn ang="0">
                  <a:pos x="581" y="233"/>
                </a:cxn>
                <a:cxn ang="0">
                  <a:pos x="538" y="949"/>
                </a:cxn>
                <a:cxn ang="0">
                  <a:pos x="630" y="946"/>
                </a:cxn>
                <a:cxn ang="0">
                  <a:pos x="793" y="880"/>
                </a:cxn>
                <a:cxn ang="0">
                  <a:pos x="886" y="728"/>
                </a:cxn>
                <a:cxn ang="0">
                  <a:pos x="905" y="505"/>
                </a:cxn>
                <a:cxn ang="0">
                  <a:pos x="850" y="329"/>
                </a:cxn>
                <a:cxn ang="0">
                  <a:pos x="727" y="241"/>
                </a:cxn>
                <a:cxn ang="0">
                  <a:pos x="521" y="3"/>
                </a:cxn>
                <a:cxn ang="0">
                  <a:pos x="643" y="74"/>
                </a:cxn>
                <a:cxn ang="0">
                  <a:pos x="761" y="24"/>
                </a:cxn>
                <a:cxn ang="0">
                  <a:pos x="855" y="9"/>
                </a:cxn>
                <a:cxn ang="0">
                  <a:pos x="1026" y="40"/>
                </a:cxn>
                <a:cxn ang="0">
                  <a:pos x="1180" y="172"/>
                </a:cxn>
                <a:cxn ang="0">
                  <a:pos x="1265" y="383"/>
                </a:cxn>
                <a:cxn ang="0">
                  <a:pos x="1265" y="641"/>
                </a:cxn>
                <a:cxn ang="0">
                  <a:pos x="1175" y="857"/>
                </a:cxn>
                <a:cxn ang="0">
                  <a:pos x="1005" y="1006"/>
                </a:cxn>
                <a:cxn ang="0">
                  <a:pos x="766" y="1074"/>
                </a:cxn>
                <a:cxn ang="0">
                  <a:pos x="601" y="1074"/>
                </a:cxn>
                <a:cxn ang="0">
                  <a:pos x="692" y="1447"/>
                </a:cxn>
                <a:cxn ang="0">
                  <a:pos x="171" y="1408"/>
                </a:cxn>
                <a:cxn ang="0">
                  <a:pos x="413" y="3"/>
                </a:cxn>
                <a:cxn ang="0">
                  <a:pos x="3876" y="20"/>
                </a:cxn>
                <a:cxn ang="0">
                  <a:pos x="4036" y="100"/>
                </a:cxn>
                <a:cxn ang="0">
                  <a:pos x="4113" y="232"/>
                </a:cxn>
                <a:cxn ang="0">
                  <a:pos x="4091" y="362"/>
                </a:cxn>
                <a:cxn ang="0">
                  <a:pos x="3995" y="436"/>
                </a:cxn>
                <a:cxn ang="0">
                  <a:pos x="3859" y="438"/>
                </a:cxn>
                <a:cxn ang="0">
                  <a:pos x="3757" y="114"/>
                </a:cxn>
                <a:cxn ang="0">
                  <a:pos x="3597" y="187"/>
                </a:cxn>
                <a:cxn ang="0">
                  <a:pos x="3508" y="339"/>
                </a:cxn>
                <a:cxn ang="0">
                  <a:pos x="3489" y="565"/>
                </a:cxn>
                <a:cxn ang="0">
                  <a:pos x="3547" y="753"/>
                </a:cxn>
                <a:cxn ang="0">
                  <a:pos x="3668" y="869"/>
                </a:cxn>
                <a:cxn ang="0">
                  <a:pos x="3821" y="896"/>
                </a:cxn>
                <a:cxn ang="0">
                  <a:pos x="3931" y="872"/>
                </a:cxn>
                <a:cxn ang="0">
                  <a:pos x="4079" y="810"/>
                </a:cxn>
                <a:cxn ang="0">
                  <a:pos x="4016" y="1024"/>
                </a:cxn>
                <a:cxn ang="0">
                  <a:pos x="3830" y="1080"/>
                </a:cxn>
                <a:cxn ang="0">
                  <a:pos x="3651" y="1095"/>
                </a:cxn>
                <a:cxn ang="0">
                  <a:pos x="3426" y="1060"/>
                </a:cxn>
                <a:cxn ang="0">
                  <a:pos x="3255" y="947"/>
                </a:cxn>
                <a:cxn ang="0">
                  <a:pos x="3140" y="772"/>
                </a:cxn>
                <a:cxn ang="0">
                  <a:pos x="3101" y="561"/>
                </a:cxn>
                <a:cxn ang="0">
                  <a:pos x="3153" y="318"/>
                </a:cxn>
                <a:cxn ang="0">
                  <a:pos x="3293" y="135"/>
                </a:cxn>
                <a:cxn ang="0">
                  <a:pos x="3508" y="27"/>
                </a:cxn>
                <a:cxn ang="0">
                  <a:pos x="2910" y="0"/>
                </a:cxn>
                <a:cxn ang="0">
                  <a:pos x="3040" y="52"/>
                </a:cxn>
                <a:cxn ang="0">
                  <a:pos x="3093" y="178"/>
                </a:cxn>
                <a:cxn ang="0">
                  <a:pos x="3071" y="277"/>
                </a:cxn>
                <a:cxn ang="0">
                  <a:pos x="3004" y="393"/>
                </a:cxn>
                <a:cxn ang="0">
                  <a:pos x="2876" y="561"/>
                </a:cxn>
                <a:cxn ang="0">
                  <a:pos x="1784" y="1078"/>
                </a:cxn>
                <a:cxn ang="0">
                  <a:pos x="1313" y="118"/>
                </a:cxn>
                <a:cxn ang="0">
                  <a:pos x="2247" y="25"/>
                </a:cxn>
                <a:cxn ang="0">
                  <a:pos x="2759" y="62"/>
                </a:cxn>
                <a:cxn ang="0">
                  <a:pos x="2872" y="4"/>
                </a:cxn>
              </a:cxnLst>
              <a:rect l="0" t="0" r="r" b="b"/>
              <a:pathLst>
                <a:path w="4127" h="1544">
                  <a:moveTo>
                    <a:pt x="640" y="229"/>
                  </a:moveTo>
                  <a:lnTo>
                    <a:pt x="622" y="229"/>
                  </a:lnTo>
                  <a:lnTo>
                    <a:pt x="603" y="230"/>
                  </a:lnTo>
                  <a:lnTo>
                    <a:pt x="581" y="233"/>
                  </a:lnTo>
                  <a:lnTo>
                    <a:pt x="553" y="235"/>
                  </a:lnTo>
                  <a:lnTo>
                    <a:pt x="521" y="241"/>
                  </a:lnTo>
                  <a:lnTo>
                    <a:pt x="521" y="947"/>
                  </a:lnTo>
                  <a:lnTo>
                    <a:pt x="538" y="949"/>
                  </a:lnTo>
                  <a:lnTo>
                    <a:pt x="553" y="949"/>
                  </a:lnTo>
                  <a:lnTo>
                    <a:pt x="566" y="949"/>
                  </a:lnTo>
                  <a:lnTo>
                    <a:pt x="578" y="949"/>
                  </a:lnTo>
                  <a:lnTo>
                    <a:pt x="630" y="946"/>
                  </a:lnTo>
                  <a:lnTo>
                    <a:pt x="677" y="937"/>
                  </a:lnTo>
                  <a:lnTo>
                    <a:pt x="720" y="924"/>
                  </a:lnTo>
                  <a:lnTo>
                    <a:pt x="758" y="905"/>
                  </a:lnTo>
                  <a:lnTo>
                    <a:pt x="793" y="880"/>
                  </a:lnTo>
                  <a:lnTo>
                    <a:pt x="824" y="850"/>
                  </a:lnTo>
                  <a:lnTo>
                    <a:pt x="849" y="815"/>
                  </a:lnTo>
                  <a:lnTo>
                    <a:pt x="870" y="775"/>
                  </a:lnTo>
                  <a:lnTo>
                    <a:pt x="886" y="728"/>
                  </a:lnTo>
                  <a:lnTo>
                    <a:pt x="897" y="678"/>
                  </a:lnTo>
                  <a:lnTo>
                    <a:pt x="905" y="622"/>
                  </a:lnTo>
                  <a:lnTo>
                    <a:pt x="907" y="561"/>
                  </a:lnTo>
                  <a:lnTo>
                    <a:pt x="905" y="505"/>
                  </a:lnTo>
                  <a:lnTo>
                    <a:pt x="897" y="452"/>
                  </a:lnTo>
                  <a:lnTo>
                    <a:pt x="886" y="407"/>
                  </a:lnTo>
                  <a:lnTo>
                    <a:pt x="870" y="366"/>
                  </a:lnTo>
                  <a:lnTo>
                    <a:pt x="850" y="329"/>
                  </a:lnTo>
                  <a:lnTo>
                    <a:pt x="826" y="299"/>
                  </a:lnTo>
                  <a:lnTo>
                    <a:pt x="797" y="274"/>
                  </a:lnTo>
                  <a:lnTo>
                    <a:pt x="763" y="254"/>
                  </a:lnTo>
                  <a:lnTo>
                    <a:pt x="727" y="241"/>
                  </a:lnTo>
                  <a:lnTo>
                    <a:pt x="686" y="232"/>
                  </a:lnTo>
                  <a:lnTo>
                    <a:pt x="640" y="229"/>
                  </a:lnTo>
                  <a:close/>
                  <a:moveTo>
                    <a:pt x="413" y="3"/>
                  </a:moveTo>
                  <a:lnTo>
                    <a:pt x="521" y="3"/>
                  </a:lnTo>
                  <a:lnTo>
                    <a:pt x="521" y="143"/>
                  </a:lnTo>
                  <a:lnTo>
                    <a:pt x="566" y="117"/>
                  </a:lnTo>
                  <a:lnTo>
                    <a:pt x="607" y="93"/>
                  </a:lnTo>
                  <a:lnTo>
                    <a:pt x="643" y="74"/>
                  </a:lnTo>
                  <a:lnTo>
                    <a:pt x="677" y="57"/>
                  </a:lnTo>
                  <a:lnTo>
                    <a:pt x="707" y="44"/>
                  </a:lnTo>
                  <a:lnTo>
                    <a:pt x="735" y="33"/>
                  </a:lnTo>
                  <a:lnTo>
                    <a:pt x="761" y="24"/>
                  </a:lnTo>
                  <a:lnTo>
                    <a:pt x="785" y="18"/>
                  </a:lnTo>
                  <a:lnTo>
                    <a:pt x="809" y="13"/>
                  </a:lnTo>
                  <a:lnTo>
                    <a:pt x="831" y="10"/>
                  </a:lnTo>
                  <a:lnTo>
                    <a:pt x="855" y="9"/>
                  </a:lnTo>
                  <a:lnTo>
                    <a:pt x="879" y="8"/>
                  </a:lnTo>
                  <a:lnTo>
                    <a:pt x="931" y="12"/>
                  </a:lnTo>
                  <a:lnTo>
                    <a:pt x="980" y="23"/>
                  </a:lnTo>
                  <a:lnTo>
                    <a:pt x="1026" y="40"/>
                  </a:lnTo>
                  <a:lnTo>
                    <a:pt x="1070" y="64"/>
                  </a:lnTo>
                  <a:lnTo>
                    <a:pt x="1110" y="94"/>
                  </a:lnTo>
                  <a:lnTo>
                    <a:pt x="1148" y="130"/>
                  </a:lnTo>
                  <a:lnTo>
                    <a:pt x="1180" y="172"/>
                  </a:lnTo>
                  <a:lnTo>
                    <a:pt x="1209" y="218"/>
                  </a:lnTo>
                  <a:lnTo>
                    <a:pt x="1233" y="268"/>
                  </a:lnTo>
                  <a:lnTo>
                    <a:pt x="1252" y="324"/>
                  </a:lnTo>
                  <a:lnTo>
                    <a:pt x="1265" y="383"/>
                  </a:lnTo>
                  <a:lnTo>
                    <a:pt x="1274" y="446"/>
                  </a:lnTo>
                  <a:lnTo>
                    <a:pt x="1278" y="512"/>
                  </a:lnTo>
                  <a:lnTo>
                    <a:pt x="1274" y="578"/>
                  </a:lnTo>
                  <a:lnTo>
                    <a:pt x="1265" y="641"/>
                  </a:lnTo>
                  <a:lnTo>
                    <a:pt x="1252" y="701"/>
                  </a:lnTo>
                  <a:lnTo>
                    <a:pt x="1232" y="756"/>
                  </a:lnTo>
                  <a:lnTo>
                    <a:pt x="1205" y="809"/>
                  </a:lnTo>
                  <a:lnTo>
                    <a:pt x="1175" y="857"/>
                  </a:lnTo>
                  <a:lnTo>
                    <a:pt x="1140" y="901"/>
                  </a:lnTo>
                  <a:lnTo>
                    <a:pt x="1099" y="941"/>
                  </a:lnTo>
                  <a:lnTo>
                    <a:pt x="1054" y="976"/>
                  </a:lnTo>
                  <a:lnTo>
                    <a:pt x="1005" y="1006"/>
                  </a:lnTo>
                  <a:lnTo>
                    <a:pt x="951" y="1031"/>
                  </a:lnTo>
                  <a:lnTo>
                    <a:pt x="894" y="1051"/>
                  </a:lnTo>
                  <a:lnTo>
                    <a:pt x="831" y="1065"/>
                  </a:lnTo>
                  <a:lnTo>
                    <a:pt x="766" y="1074"/>
                  </a:lnTo>
                  <a:lnTo>
                    <a:pt x="696" y="1078"/>
                  </a:lnTo>
                  <a:lnTo>
                    <a:pt x="670" y="1078"/>
                  </a:lnTo>
                  <a:lnTo>
                    <a:pt x="637" y="1076"/>
                  </a:lnTo>
                  <a:lnTo>
                    <a:pt x="601" y="1074"/>
                  </a:lnTo>
                  <a:lnTo>
                    <a:pt x="561" y="1071"/>
                  </a:lnTo>
                  <a:lnTo>
                    <a:pt x="521" y="1068"/>
                  </a:lnTo>
                  <a:lnTo>
                    <a:pt x="521" y="1408"/>
                  </a:lnTo>
                  <a:lnTo>
                    <a:pt x="692" y="1447"/>
                  </a:lnTo>
                  <a:lnTo>
                    <a:pt x="692" y="1544"/>
                  </a:lnTo>
                  <a:lnTo>
                    <a:pt x="18" y="1544"/>
                  </a:lnTo>
                  <a:lnTo>
                    <a:pt x="18" y="1447"/>
                  </a:lnTo>
                  <a:lnTo>
                    <a:pt x="171" y="1408"/>
                  </a:lnTo>
                  <a:lnTo>
                    <a:pt x="171" y="229"/>
                  </a:lnTo>
                  <a:lnTo>
                    <a:pt x="0" y="229"/>
                  </a:lnTo>
                  <a:lnTo>
                    <a:pt x="0" y="128"/>
                  </a:lnTo>
                  <a:lnTo>
                    <a:pt x="413" y="3"/>
                  </a:lnTo>
                  <a:close/>
                  <a:moveTo>
                    <a:pt x="3711" y="0"/>
                  </a:moveTo>
                  <a:lnTo>
                    <a:pt x="3770" y="3"/>
                  </a:lnTo>
                  <a:lnTo>
                    <a:pt x="3825" y="9"/>
                  </a:lnTo>
                  <a:lnTo>
                    <a:pt x="3876" y="20"/>
                  </a:lnTo>
                  <a:lnTo>
                    <a:pt x="3923" y="34"/>
                  </a:lnTo>
                  <a:lnTo>
                    <a:pt x="3965" y="53"/>
                  </a:lnTo>
                  <a:lnTo>
                    <a:pt x="4004" y="75"/>
                  </a:lnTo>
                  <a:lnTo>
                    <a:pt x="4036" y="100"/>
                  </a:lnTo>
                  <a:lnTo>
                    <a:pt x="4064" y="129"/>
                  </a:lnTo>
                  <a:lnTo>
                    <a:pt x="4086" y="160"/>
                  </a:lnTo>
                  <a:lnTo>
                    <a:pt x="4103" y="194"/>
                  </a:lnTo>
                  <a:lnTo>
                    <a:pt x="4113" y="232"/>
                  </a:lnTo>
                  <a:lnTo>
                    <a:pt x="4117" y="271"/>
                  </a:lnTo>
                  <a:lnTo>
                    <a:pt x="4114" y="304"/>
                  </a:lnTo>
                  <a:lnTo>
                    <a:pt x="4105" y="334"/>
                  </a:lnTo>
                  <a:lnTo>
                    <a:pt x="4091" y="362"/>
                  </a:lnTo>
                  <a:lnTo>
                    <a:pt x="4074" y="387"/>
                  </a:lnTo>
                  <a:lnTo>
                    <a:pt x="4051" y="407"/>
                  </a:lnTo>
                  <a:lnTo>
                    <a:pt x="4025" y="423"/>
                  </a:lnTo>
                  <a:lnTo>
                    <a:pt x="3995" y="436"/>
                  </a:lnTo>
                  <a:lnTo>
                    <a:pt x="3961" y="443"/>
                  </a:lnTo>
                  <a:lnTo>
                    <a:pt x="3925" y="446"/>
                  </a:lnTo>
                  <a:lnTo>
                    <a:pt x="3891" y="444"/>
                  </a:lnTo>
                  <a:lnTo>
                    <a:pt x="3859" y="438"/>
                  </a:lnTo>
                  <a:lnTo>
                    <a:pt x="3826" y="428"/>
                  </a:lnTo>
                  <a:lnTo>
                    <a:pt x="3792" y="413"/>
                  </a:lnTo>
                  <a:lnTo>
                    <a:pt x="3757" y="394"/>
                  </a:lnTo>
                  <a:lnTo>
                    <a:pt x="3757" y="114"/>
                  </a:lnTo>
                  <a:lnTo>
                    <a:pt x="3711" y="125"/>
                  </a:lnTo>
                  <a:lnTo>
                    <a:pt x="3668" y="140"/>
                  </a:lnTo>
                  <a:lnTo>
                    <a:pt x="3631" y="162"/>
                  </a:lnTo>
                  <a:lnTo>
                    <a:pt x="3597" y="187"/>
                  </a:lnTo>
                  <a:lnTo>
                    <a:pt x="3568" y="218"/>
                  </a:lnTo>
                  <a:lnTo>
                    <a:pt x="3543" y="253"/>
                  </a:lnTo>
                  <a:lnTo>
                    <a:pt x="3523" y="294"/>
                  </a:lnTo>
                  <a:lnTo>
                    <a:pt x="3508" y="339"/>
                  </a:lnTo>
                  <a:lnTo>
                    <a:pt x="3497" y="391"/>
                  </a:lnTo>
                  <a:lnTo>
                    <a:pt x="3489" y="447"/>
                  </a:lnTo>
                  <a:lnTo>
                    <a:pt x="3487" y="507"/>
                  </a:lnTo>
                  <a:lnTo>
                    <a:pt x="3489" y="565"/>
                  </a:lnTo>
                  <a:lnTo>
                    <a:pt x="3497" y="617"/>
                  </a:lnTo>
                  <a:lnTo>
                    <a:pt x="3509" y="667"/>
                  </a:lnTo>
                  <a:lnTo>
                    <a:pt x="3526" y="712"/>
                  </a:lnTo>
                  <a:lnTo>
                    <a:pt x="3547" y="753"/>
                  </a:lnTo>
                  <a:lnTo>
                    <a:pt x="3571" y="790"/>
                  </a:lnTo>
                  <a:lnTo>
                    <a:pt x="3600" y="821"/>
                  </a:lnTo>
                  <a:lnTo>
                    <a:pt x="3632" y="847"/>
                  </a:lnTo>
                  <a:lnTo>
                    <a:pt x="3668" y="869"/>
                  </a:lnTo>
                  <a:lnTo>
                    <a:pt x="3707" y="885"/>
                  </a:lnTo>
                  <a:lnTo>
                    <a:pt x="3750" y="894"/>
                  </a:lnTo>
                  <a:lnTo>
                    <a:pt x="3795" y="897"/>
                  </a:lnTo>
                  <a:lnTo>
                    <a:pt x="3821" y="896"/>
                  </a:lnTo>
                  <a:lnTo>
                    <a:pt x="3847" y="894"/>
                  </a:lnTo>
                  <a:lnTo>
                    <a:pt x="3874" y="889"/>
                  </a:lnTo>
                  <a:lnTo>
                    <a:pt x="3901" y="881"/>
                  </a:lnTo>
                  <a:lnTo>
                    <a:pt x="3931" y="872"/>
                  </a:lnTo>
                  <a:lnTo>
                    <a:pt x="3964" y="861"/>
                  </a:lnTo>
                  <a:lnTo>
                    <a:pt x="3999" y="846"/>
                  </a:lnTo>
                  <a:lnTo>
                    <a:pt x="4036" y="830"/>
                  </a:lnTo>
                  <a:lnTo>
                    <a:pt x="4079" y="810"/>
                  </a:lnTo>
                  <a:lnTo>
                    <a:pt x="4127" y="787"/>
                  </a:lnTo>
                  <a:lnTo>
                    <a:pt x="4127" y="976"/>
                  </a:lnTo>
                  <a:lnTo>
                    <a:pt x="4069" y="1001"/>
                  </a:lnTo>
                  <a:lnTo>
                    <a:pt x="4016" y="1024"/>
                  </a:lnTo>
                  <a:lnTo>
                    <a:pt x="3966" y="1041"/>
                  </a:lnTo>
                  <a:lnTo>
                    <a:pt x="3919" y="1058"/>
                  </a:lnTo>
                  <a:lnTo>
                    <a:pt x="3874" y="1070"/>
                  </a:lnTo>
                  <a:lnTo>
                    <a:pt x="3830" y="1080"/>
                  </a:lnTo>
                  <a:lnTo>
                    <a:pt x="3786" y="1086"/>
                  </a:lnTo>
                  <a:lnTo>
                    <a:pt x="3742" y="1091"/>
                  </a:lnTo>
                  <a:lnTo>
                    <a:pt x="3697" y="1094"/>
                  </a:lnTo>
                  <a:lnTo>
                    <a:pt x="3651" y="1095"/>
                  </a:lnTo>
                  <a:lnTo>
                    <a:pt x="3588" y="1093"/>
                  </a:lnTo>
                  <a:lnTo>
                    <a:pt x="3530" y="1086"/>
                  </a:lnTo>
                  <a:lnTo>
                    <a:pt x="3476" y="1075"/>
                  </a:lnTo>
                  <a:lnTo>
                    <a:pt x="3426" y="1060"/>
                  </a:lnTo>
                  <a:lnTo>
                    <a:pt x="3378" y="1039"/>
                  </a:lnTo>
                  <a:lnTo>
                    <a:pt x="3334" y="1014"/>
                  </a:lnTo>
                  <a:lnTo>
                    <a:pt x="3294" y="984"/>
                  </a:lnTo>
                  <a:lnTo>
                    <a:pt x="3255" y="947"/>
                  </a:lnTo>
                  <a:lnTo>
                    <a:pt x="3219" y="907"/>
                  </a:lnTo>
                  <a:lnTo>
                    <a:pt x="3188" y="865"/>
                  </a:lnTo>
                  <a:lnTo>
                    <a:pt x="3162" y="820"/>
                  </a:lnTo>
                  <a:lnTo>
                    <a:pt x="3140" y="772"/>
                  </a:lnTo>
                  <a:lnTo>
                    <a:pt x="3124" y="722"/>
                  </a:lnTo>
                  <a:lnTo>
                    <a:pt x="3111" y="670"/>
                  </a:lnTo>
                  <a:lnTo>
                    <a:pt x="3104" y="616"/>
                  </a:lnTo>
                  <a:lnTo>
                    <a:pt x="3101" y="561"/>
                  </a:lnTo>
                  <a:lnTo>
                    <a:pt x="3105" y="494"/>
                  </a:lnTo>
                  <a:lnTo>
                    <a:pt x="3115" y="433"/>
                  </a:lnTo>
                  <a:lnTo>
                    <a:pt x="3130" y="373"/>
                  </a:lnTo>
                  <a:lnTo>
                    <a:pt x="3153" y="318"/>
                  </a:lnTo>
                  <a:lnTo>
                    <a:pt x="3179" y="267"/>
                  </a:lnTo>
                  <a:lnTo>
                    <a:pt x="3213" y="219"/>
                  </a:lnTo>
                  <a:lnTo>
                    <a:pt x="3250" y="175"/>
                  </a:lnTo>
                  <a:lnTo>
                    <a:pt x="3293" y="135"/>
                  </a:lnTo>
                  <a:lnTo>
                    <a:pt x="3341" y="102"/>
                  </a:lnTo>
                  <a:lnTo>
                    <a:pt x="3392" y="72"/>
                  </a:lnTo>
                  <a:lnTo>
                    <a:pt x="3448" y="47"/>
                  </a:lnTo>
                  <a:lnTo>
                    <a:pt x="3508" y="27"/>
                  </a:lnTo>
                  <a:lnTo>
                    <a:pt x="3573" y="12"/>
                  </a:lnTo>
                  <a:lnTo>
                    <a:pt x="3640" y="3"/>
                  </a:lnTo>
                  <a:lnTo>
                    <a:pt x="3711" y="0"/>
                  </a:lnTo>
                  <a:close/>
                  <a:moveTo>
                    <a:pt x="2910" y="0"/>
                  </a:moveTo>
                  <a:lnTo>
                    <a:pt x="2948" y="4"/>
                  </a:lnTo>
                  <a:lnTo>
                    <a:pt x="2983" y="14"/>
                  </a:lnTo>
                  <a:lnTo>
                    <a:pt x="3014" y="30"/>
                  </a:lnTo>
                  <a:lnTo>
                    <a:pt x="3040" y="52"/>
                  </a:lnTo>
                  <a:lnTo>
                    <a:pt x="3063" y="78"/>
                  </a:lnTo>
                  <a:lnTo>
                    <a:pt x="3079" y="109"/>
                  </a:lnTo>
                  <a:lnTo>
                    <a:pt x="3089" y="142"/>
                  </a:lnTo>
                  <a:lnTo>
                    <a:pt x="3093" y="178"/>
                  </a:lnTo>
                  <a:lnTo>
                    <a:pt x="3091" y="203"/>
                  </a:lnTo>
                  <a:lnTo>
                    <a:pt x="3088" y="227"/>
                  </a:lnTo>
                  <a:lnTo>
                    <a:pt x="3081" y="252"/>
                  </a:lnTo>
                  <a:lnTo>
                    <a:pt x="3071" y="277"/>
                  </a:lnTo>
                  <a:lnTo>
                    <a:pt x="3060" y="303"/>
                  </a:lnTo>
                  <a:lnTo>
                    <a:pt x="3044" y="331"/>
                  </a:lnTo>
                  <a:lnTo>
                    <a:pt x="3025" y="361"/>
                  </a:lnTo>
                  <a:lnTo>
                    <a:pt x="3004" y="393"/>
                  </a:lnTo>
                  <a:lnTo>
                    <a:pt x="2978" y="429"/>
                  </a:lnTo>
                  <a:lnTo>
                    <a:pt x="2948" y="468"/>
                  </a:lnTo>
                  <a:lnTo>
                    <a:pt x="2914" y="512"/>
                  </a:lnTo>
                  <a:lnTo>
                    <a:pt x="2876" y="561"/>
                  </a:lnTo>
                  <a:lnTo>
                    <a:pt x="2472" y="1078"/>
                  </a:lnTo>
                  <a:lnTo>
                    <a:pt x="2182" y="1078"/>
                  </a:lnTo>
                  <a:lnTo>
                    <a:pt x="2182" y="424"/>
                  </a:lnTo>
                  <a:lnTo>
                    <a:pt x="1784" y="1078"/>
                  </a:lnTo>
                  <a:lnTo>
                    <a:pt x="1518" y="1078"/>
                  </a:lnTo>
                  <a:lnTo>
                    <a:pt x="1518" y="234"/>
                  </a:lnTo>
                  <a:lnTo>
                    <a:pt x="1313" y="214"/>
                  </a:lnTo>
                  <a:lnTo>
                    <a:pt x="1313" y="118"/>
                  </a:lnTo>
                  <a:lnTo>
                    <a:pt x="1690" y="25"/>
                  </a:lnTo>
                  <a:lnTo>
                    <a:pt x="1832" y="25"/>
                  </a:lnTo>
                  <a:lnTo>
                    <a:pt x="1832" y="713"/>
                  </a:lnTo>
                  <a:lnTo>
                    <a:pt x="2247" y="25"/>
                  </a:lnTo>
                  <a:lnTo>
                    <a:pt x="2497" y="25"/>
                  </a:lnTo>
                  <a:lnTo>
                    <a:pt x="2497" y="822"/>
                  </a:lnTo>
                  <a:lnTo>
                    <a:pt x="2759" y="473"/>
                  </a:lnTo>
                  <a:lnTo>
                    <a:pt x="2759" y="62"/>
                  </a:lnTo>
                  <a:lnTo>
                    <a:pt x="2779" y="44"/>
                  </a:lnTo>
                  <a:lnTo>
                    <a:pt x="2806" y="27"/>
                  </a:lnTo>
                  <a:lnTo>
                    <a:pt x="2837" y="13"/>
                  </a:lnTo>
                  <a:lnTo>
                    <a:pt x="2872" y="4"/>
                  </a:lnTo>
                  <a:lnTo>
                    <a:pt x="2910" y="0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 sz="1800" noProof="0"/>
            </a:p>
          </p:txBody>
        </p:sp>
      </p:grpSp>
    </p:spTree>
    <p:extLst>
      <p:ext uri="{BB962C8B-B14F-4D97-AF65-F5344CB8AC3E}">
        <p14:creationId xmlns:p14="http://schemas.microsoft.com/office/powerpoint/2010/main" val="107304563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>
            <a:lvl1pPr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711200" y="5867400"/>
            <a:ext cx="6400800" cy="762000"/>
          </a:xfrm>
        </p:spPr>
        <p:txBody>
          <a:bodyPr anchor="b"/>
          <a:lstStyle>
            <a:lvl1pPr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GB" noProof="0" smtClean="0"/>
              <a:t>Add legal and copyright disclaimers here.</a:t>
            </a:r>
            <a:endParaRPr lang="en-GB" noProof="0"/>
          </a:p>
        </p:txBody>
      </p:sp>
      <p:cxnSp>
        <p:nvCxnSpPr>
          <p:cNvPr id="7" name="Shape 6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8727072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2"/>
            <a:ext cx="5283200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2" y="1752600"/>
            <a:ext cx="5283199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62" name="Shape 61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26441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1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7" name="Content Placeholder 26"/>
          <p:cNvSpPr>
            <a:spLocks noGrp="1"/>
          </p:cNvSpPr>
          <p:nvPr>
            <p:ph sz="quarter" idx="13"/>
          </p:nvPr>
        </p:nvSpPr>
        <p:spPr>
          <a:xfrm>
            <a:off x="711200" y="1752602"/>
            <a:ext cx="3454400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4368802" y="1752602"/>
            <a:ext cx="3454399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1752602"/>
            <a:ext cx="3454400" cy="4419599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7" name="TextBox 36"/>
          <p:cNvSpPr txBox="1"/>
          <p:nvPr/>
        </p:nvSpPr>
        <p:spPr>
          <a:xfrm>
            <a:off x="711200" y="6477001"/>
            <a:ext cx="3454400" cy="152401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9" name="Shape 18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0464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und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3352800"/>
            <a:ext cx="5283200" cy="2819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6197600" y="3352800"/>
            <a:ext cx="5283201" cy="28194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3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33" name="TextBox 32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10769600" cy="14478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5700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Lef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8026400" y="1752600"/>
            <a:ext cx="34544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8026400" y="4038600"/>
            <a:ext cx="34544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7112000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793108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Two and Righ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Content Placeholder 26"/>
          <p:cNvSpPr>
            <a:spLocks noGrp="1"/>
          </p:cNvSpPr>
          <p:nvPr>
            <p:ph sz="quarter" idx="14"/>
          </p:nvPr>
        </p:nvSpPr>
        <p:spPr>
          <a:xfrm>
            <a:off x="711200" y="1752600"/>
            <a:ext cx="34544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711200" y="4038600"/>
            <a:ext cx="3454400" cy="2133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368800" y="1752600"/>
            <a:ext cx="7112000" cy="4419600"/>
          </a:xfrm>
        </p:spPr>
        <p:txBody>
          <a:bodyPr/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20" name="TextBox 19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4" name="Shape 13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302940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: One with Impa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68800" y="685800"/>
            <a:ext cx="7112000" cy="914400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1" smtClean="0"/>
              <a:t>Click to edit Master title style</a:t>
            </a:r>
            <a:endParaRPr lang="en-GB" noProof="1"/>
          </a:p>
        </p:txBody>
      </p:sp>
      <p:sp>
        <p:nvSpPr>
          <p:cNvPr id="31" name="Content Placeholder 26"/>
          <p:cNvSpPr>
            <a:spLocks noGrp="1"/>
          </p:cNvSpPr>
          <p:nvPr>
            <p:ph sz="quarter" idx="15"/>
          </p:nvPr>
        </p:nvSpPr>
        <p:spPr>
          <a:xfrm>
            <a:off x="4368800" y="1752600"/>
            <a:ext cx="7112000" cy="44196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en-US" noProof="1" smtClean="0"/>
              <a:t>Click to edit Master text styles</a:t>
            </a:r>
          </a:p>
          <a:p>
            <a:pPr lvl="1"/>
            <a:r>
              <a:rPr lang="en-US" noProof="1" smtClean="0"/>
              <a:t>Second level</a:t>
            </a:r>
          </a:p>
          <a:p>
            <a:pPr lvl="2"/>
            <a:r>
              <a:rPr lang="en-US" noProof="1" smtClean="0"/>
              <a:t>Third level</a:t>
            </a:r>
          </a:p>
          <a:p>
            <a:pPr lvl="3"/>
            <a:r>
              <a:rPr lang="en-US" noProof="1" smtClean="0"/>
              <a:t>Fourth level</a:t>
            </a:r>
          </a:p>
          <a:p>
            <a:pPr lvl="4"/>
            <a:r>
              <a:rPr lang="en-US" noProof="1" smtClean="0"/>
              <a:t>Fifth level</a:t>
            </a:r>
            <a:endParaRPr lang="en-GB" noProof="1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6"/>
          </p:nvPr>
        </p:nvSpPr>
        <p:spPr>
          <a:xfrm>
            <a:off x="711200" y="1752600"/>
            <a:ext cx="3454400" cy="2130552"/>
          </a:xfrm>
        </p:spPr>
        <p:txBody>
          <a:bodyPr/>
          <a:lstStyle>
            <a:lvl1pPr>
              <a:defRPr sz="2400" b="1" i="1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noProof="1" smtClean="0"/>
              <a:t>Click to edit Master text styles</a:t>
            </a:r>
          </a:p>
        </p:txBody>
      </p:sp>
      <p:sp>
        <p:nvSpPr>
          <p:cNvPr id="18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9" name="TextBox 18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1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1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0" name="Shape 29"/>
          <p:cNvCxnSpPr/>
          <p:nvPr/>
        </p:nvCxnSpPr>
        <p:spPr>
          <a:xfrm rot="5400000" flipH="1" flipV="1">
            <a:off x="7747002" y="-2971800"/>
            <a:ext cx="152399" cy="73152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11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285700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11200" y="685800"/>
            <a:ext cx="10769600" cy="914400"/>
          </a:xfrm>
        </p:spPr>
        <p:txBody>
          <a:bodyPr/>
          <a:lstStyle/>
          <a:p>
            <a:r>
              <a:rPr lang="en-US" noProof="0" smtClean="0"/>
              <a:t>Click to edit Master title style</a:t>
            </a:r>
            <a:endParaRPr lang="en-GB" noProof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11200" y="6324600"/>
            <a:ext cx="7010400" cy="152400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  <p:sp>
        <p:nvSpPr>
          <p:cNvPr id="16" name="TextBox 15"/>
          <p:cNvSpPr txBox="1"/>
          <p:nvPr/>
        </p:nvSpPr>
        <p:spPr>
          <a:xfrm>
            <a:off x="711200" y="6477001"/>
            <a:ext cx="3454400" cy="15240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1000" noProof="0" smtClean="0">
                <a:latin typeface="Arial" pitchFamily="34" charset="0"/>
                <a:cs typeface="Arial" pitchFamily="34" charset="0"/>
              </a:rPr>
              <a:t>PwC</a:t>
            </a:r>
            <a:endParaRPr lang="en-GB" sz="1000" noProof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0" name="Shape 9"/>
          <p:cNvCxnSpPr/>
          <p:nvPr/>
        </p:nvCxnSpPr>
        <p:spPr>
          <a:xfrm rot="5400000" flipH="1" flipV="1">
            <a:off x="5918202" y="-4800600"/>
            <a:ext cx="152399" cy="10972800"/>
          </a:xfrm>
          <a:prstGeom prst="bentConnector2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9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72728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201" y="685800"/>
            <a:ext cx="10769601" cy="914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GB" noProof="0" smtClean="0"/>
              <a:t>Click to edit</a:t>
            </a:r>
            <a:br>
              <a:rPr lang="en-GB" noProof="0" smtClean="0"/>
            </a:br>
            <a:r>
              <a:rPr lang="en-GB" noProof="0" smtClean="0"/>
              <a:t>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1202" y="1752600"/>
            <a:ext cx="10769599" cy="44196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 smtClean="0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448800" y="6477000"/>
            <a:ext cx="2036064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016C0488-217C-405E-84A7-2C6B75A710C1}" type="slidenum">
              <a:rPr lang="en-US" smtClean="0"/>
              <a:t>‹Nº›</a:t>
            </a:fld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2"/>
          </p:nvPr>
        </p:nvSpPr>
        <p:spPr>
          <a:xfrm>
            <a:off x="9448800" y="6324600"/>
            <a:ext cx="2032000" cy="15240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3CBB441-54ED-477C-9FAB-35555F11287D}" type="datetimeFigureOut">
              <a:rPr lang="en-US" smtClean="0"/>
              <a:t>9/25/2017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07136" y="6324600"/>
            <a:ext cx="7014464" cy="150876"/>
          </a:xfrm>
          <a:prstGeom prst="rect">
            <a:avLst/>
          </a:prstGeom>
        </p:spPr>
        <p:txBody>
          <a:bodyPr vert="horz" lIns="0" tIns="0" rIns="0" bIns="0" anchor="b" anchorCtr="0">
            <a:noAutofit/>
          </a:bodyPr>
          <a:lstStyle>
            <a:lvl1pPr algn="l">
              <a:defRPr sz="1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4998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</p:sldLayoutIdLst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b="1" i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Tx/>
        <a:buFontTx/>
        <a:buNone/>
        <a:tabLst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1pPr>
      <a:lvl2pPr marL="27432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•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2pPr>
      <a:lvl3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-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3pPr>
      <a:lvl4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◦"/>
        <a:defRPr sz="2000" kern="1200">
          <a:solidFill>
            <a:schemeClr val="tx1"/>
          </a:solidFill>
          <a:latin typeface="Georgia" pitchFamily="18" charset="0"/>
          <a:ea typeface="+mn-ea"/>
          <a:cs typeface="+mn-cs"/>
        </a:defRPr>
      </a:lvl4pPr>
      <a:lvl5pPr marL="109728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Font typeface="Georgia" pitchFamily="18" charset="0"/>
        <a:buChar char="›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5pPr>
      <a:lvl6pPr marL="274320" marR="0" indent="-274320" algn="l" defTabSz="914400" rtl="0" eaLnBrk="1" fontAlgn="auto" latinLnBrk="0" hangingPunct="1">
        <a:lnSpc>
          <a:spcPct val="100000"/>
        </a:lnSpc>
        <a:spcBef>
          <a:spcPts val="0"/>
        </a:spcBef>
        <a:spcAft>
          <a:spcPts val="900"/>
        </a:spcAft>
        <a:buClr>
          <a:schemeClr val="tx1"/>
        </a:buClr>
        <a:buSzPct val="100000"/>
        <a:buFont typeface="+mj-lt"/>
        <a:buAutoNum type="arabicPeriod"/>
        <a:tabLst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6pPr>
      <a:lvl7pPr marL="54864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alpha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7pPr>
      <a:lvl8pPr marL="82296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SzPct val="100000"/>
        <a:buFont typeface="+mj-lt"/>
        <a:buAutoNum type="romanLcPeriod"/>
        <a:defRPr sz="2000" kern="1200" baseline="0">
          <a:solidFill>
            <a:schemeClr val="tx1"/>
          </a:solidFill>
          <a:latin typeface="Georgia" pitchFamily="18" charset="0"/>
          <a:ea typeface="+mn-ea"/>
          <a:cs typeface="+mn-cs"/>
        </a:defRPr>
      </a:lvl8pPr>
      <a:lvl9pPr marL="0" indent="-274320" algn="l" defTabSz="914400" rtl="0" eaLnBrk="1" latinLnBrk="0" hangingPunct="1">
        <a:lnSpc>
          <a:spcPct val="100000"/>
        </a:lnSpc>
        <a:spcBef>
          <a:spcPts val="0"/>
        </a:spcBef>
        <a:spcAft>
          <a:spcPts val="900"/>
        </a:spcAft>
        <a:buFont typeface="Arial" pitchFamily="34" charset="0"/>
        <a:buNone/>
        <a:defRPr sz="2000" b="1" kern="1200" baseline="0">
          <a:solidFill>
            <a:schemeClr val="tx2"/>
          </a:solidFill>
          <a:latin typeface="Georgia" pitchFamily="18" charset="0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1.jpeg"/><Relationship Id="rId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4.png"/><Relationship Id="rId5" Type="http://schemas.openxmlformats.org/officeDocument/2006/relationships/image" Target="../media/image3.jpeg"/><Relationship Id="rId10" Type="http://schemas.openxmlformats.org/officeDocument/2006/relationships/image" Target="../media/image8.JPG"/><Relationship Id="rId4" Type="http://schemas.openxmlformats.org/officeDocument/2006/relationships/image" Target="../media/image2.png"/><Relationship Id="rId9" Type="http://schemas.openxmlformats.org/officeDocument/2006/relationships/image" Target="../media/image7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7" Type="http://schemas.openxmlformats.org/officeDocument/2006/relationships/image" Target="../media/image13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2.jpeg"/><Relationship Id="rId5" Type="http://schemas.openxmlformats.org/officeDocument/2006/relationships/image" Target="../media/image11.png"/><Relationship Id="rId4" Type="http://schemas.openxmlformats.org/officeDocument/2006/relationships/image" Target="../media/image1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s-ES"/>
          </a:p>
        </p:txBody>
      </p:sp>
      <p:pic>
        <p:nvPicPr>
          <p:cNvPr id="4" name="Picture 2" descr="http://bluecell.es/clientes/procuradores/img/sede-actual/sede8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r="1"/>
          <a:stretch/>
        </p:blipFill>
        <p:spPr bwMode="auto">
          <a:xfrm>
            <a:off x="0" y="0"/>
            <a:ext cx="12192001" cy="68453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/>
          <p:nvPr/>
        </p:nvSpPr>
        <p:spPr bwMode="ltGray">
          <a:xfrm>
            <a:off x="0" y="-152400"/>
            <a:ext cx="12579927" cy="7011587"/>
          </a:xfrm>
          <a:prstGeom prst="rect">
            <a:avLst/>
          </a:prstGeom>
          <a:solidFill>
            <a:srgbClr val="FFFFFF">
              <a:alpha val="83137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51" name="Group 50"/>
          <p:cNvGrpSpPr/>
          <p:nvPr/>
        </p:nvGrpSpPr>
        <p:grpSpPr>
          <a:xfrm>
            <a:off x="6535062" y="3107660"/>
            <a:ext cx="5456961" cy="3360434"/>
            <a:chOff x="3430745" y="3123862"/>
            <a:chExt cx="5495860" cy="3827414"/>
          </a:xfrm>
        </p:grpSpPr>
        <p:grpSp>
          <p:nvGrpSpPr>
            <p:cNvPr id="52" name="Group 51"/>
            <p:cNvGrpSpPr/>
            <p:nvPr/>
          </p:nvGrpSpPr>
          <p:grpSpPr>
            <a:xfrm>
              <a:off x="3430745" y="3123862"/>
              <a:ext cx="5495860" cy="3827414"/>
              <a:chOff x="3430745" y="3123862"/>
              <a:chExt cx="5495860" cy="3827414"/>
            </a:xfrm>
          </p:grpSpPr>
          <p:grpSp>
            <p:nvGrpSpPr>
              <p:cNvPr id="54" name="Group 53"/>
              <p:cNvGrpSpPr/>
              <p:nvPr/>
            </p:nvGrpSpPr>
            <p:grpSpPr>
              <a:xfrm>
                <a:off x="3430745" y="3123862"/>
                <a:ext cx="5495860" cy="3827414"/>
                <a:chOff x="120058" y="1718389"/>
                <a:chExt cx="6045446" cy="4210155"/>
              </a:xfrm>
            </p:grpSpPr>
            <p:grpSp>
              <p:nvGrpSpPr>
                <p:cNvPr id="56" name="Group 55"/>
                <p:cNvGrpSpPr/>
                <p:nvPr/>
              </p:nvGrpSpPr>
              <p:grpSpPr>
                <a:xfrm>
                  <a:off x="120058" y="1718389"/>
                  <a:ext cx="6045446" cy="4210155"/>
                  <a:chOff x="2360148" y="2588561"/>
                  <a:chExt cx="6045446" cy="4210155"/>
                </a:xfrm>
              </p:grpSpPr>
              <p:pic>
                <p:nvPicPr>
                  <p:cNvPr id="58" name="Picture 2"/>
                  <p:cNvPicPr>
                    <a:picLocks noChangeAspect="1" noChangeArrowheads="1"/>
                  </p:cNvPicPr>
                  <p:nvPr/>
                </p:nvPicPr>
                <p:blipFill rotWithShape="1">
                  <a:blip r:embed="rId4">
                    <a:clrChange>
                      <a:clrFrom>
                        <a:srgbClr val="FFFFFF"/>
                      </a:clrFrom>
                      <a:clrTo>
                        <a:srgbClr val="FFFFFF">
                          <a:alpha val="0"/>
                        </a:srgbClr>
                      </a:clrTo>
                    </a:clrChange>
                    <a:duotone>
                      <a:prstClr val="black"/>
                      <a:srgbClr val="44546A">
                        <a:tint val="45000"/>
                        <a:satMod val="400000"/>
                      </a:srgbClr>
                    </a:duotone>
                    <a:extLst>
                      <a:ext uri="{28A0092B-C50C-407E-A947-70E740481C1C}">
                        <a14:useLocalDpi xmlns:a14="http://schemas.microsoft.com/office/drawing/2010/main" val="0"/>
                      </a:ext>
                    </a:extLst>
                  </a:blip>
                  <a:srcRect b="54466"/>
                  <a:stretch/>
                </p:blipFill>
                <p:spPr bwMode="auto">
                  <a:xfrm>
                    <a:off x="2504728" y="3025640"/>
                    <a:ext cx="5900866" cy="2400543"/>
                  </a:xfrm>
                  <a:prstGeom prst="rect">
                    <a:avLst/>
                  </a:prstGeom>
                  <a:noFill/>
                  <a:ln>
                    <a:noFill/>
                  </a:ln>
                  <a:extLst>
                    <a:ext uri="{909E8E84-426E-40DD-AFC4-6F175D3DCCD1}">
                      <a14:hiddenFill xmlns:a14="http://schemas.microsoft.com/office/drawing/2010/main">
                        <a:solidFill>
                          <a:schemeClr val="accent1"/>
                        </a:solidFill>
                      </a14:hiddenFill>
                    </a:ext>
                    <a:ext uri="{91240B29-F687-4F45-9708-019B960494DF}">
                      <a14:hiddenLine xmlns:a14="http://schemas.microsoft.com/office/drawing/2010/main" w="9525">
                        <a:solidFill>
                          <a:schemeClr val="tx1"/>
                        </a:solidFill>
                        <a:miter lim="800000"/>
                        <a:headEnd/>
                        <a:tailEnd/>
                      </a14:hiddenLine>
                    </a:ext>
                  </a:extLst>
                </p:spPr>
              </p:pic>
              <p:sp>
                <p:nvSpPr>
                  <p:cNvPr id="59" name="71 Rectángulo"/>
                  <p:cNvSpPr/>
                  <p:nvPr/>
                </p:nvSpPr>
                <p:spPr bwMode="ltGray">
                  <a:xfrm>
                    <a:off x="2360148" y="5566778"/>
                    <a:ext cx="5846789" cy="580469"/>
                  </a:xfrm>
                  <a:prstGeom prst="rect">
                    <a:avLst/>
                  </a:prstGeom>
                  <a:solidFill>
                    <a:srgbClr val="002060">
                      <a:alpha val="23137"/>
                    </a:srgbClr>
                  </a:solidFill>
                  <a:ln w="28575" cap="flat" cmpd="sng" algn="ctr">
                    <a:solidFill>
                      <a:srgbClr val="FFFFFF"/>
                    </a:solidFill>
                    <a:prstDash val="solid"/>
                  </a:ln>
                  <a:effectLst/>
                </p:spPr>
                <p:txBody>
                  <a:bodyPr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Georgia" pitchFamily="18" charset="0"/>
                    </a:endParaRPr>
                  </a:p>
                </p:txBody>
              </p:sp>
              <p:sp>
                <p:nvSpPr>
                  <p:cNvPr id="60" name="72 Rectángulo"/>
                  <p:cNvSpPr/>
                  <p:nvPr/>
                </p:nvSpPr>
                <p:spPr bwMode="ltGray">
                  <a:xfrm>
                    <a:off x="2367820" y="6109949"/>
                    <a:ext cx="5831435" cy="688767"/>
                  </a:xfrm>
                  <a:prstGeom prst="rect">
                    <a:avLst/>
                  </a:prstGeom>
                  <a:solidFill>
                    <a:srgbClr val="002060"/>
                  </a:solidFill>
                  <a:ln w="28575" cap="flat" cmpd="sng" algn="ctr">
                    <a:solidFill>
                      <a:srgbClr val="FFFFFF"/>
                    </a:solidFill>
                    <a:prstDash val="solid"/>
                  </a:ln>
                  <a:effectLst/>
                </p:spPr>
                <p:txBody>
                  <a:bodyPr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18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 pitchFamily="18" charset="0"/>
                    </a:endParaRPr>
                  </a:p>
                </p:txBody>
              </p:sp>
              <p:sp>
                <p:nvSpPr>
                  <p:cNvPr id="61" name="Freeform 67"/>
                  <p:cNvSpPr>
                    <a:spLocks/>
                  </p:cNvSpPr>
                  <p:nvPr/>
                </p:nvSpPr>
                <p:spPr bwMode="gray">
                  <a:xfrm>
                    <a:off x="3455881" y="4255286"/>
                    <a:ext cx="900403" cy="1262981"/>
                  </a:xfrm>
                  <a:custGeom>
                    <a:avLst/>
                    <a:gdLst>
                      <a:gd name="T0" fmla="*/ 860936554 w 147"/>
                      <a:gd name="T1" fmla="*/ 622600933 h 195"/>
                      <a:gd name="T2" fmla="*/ 1045930651 w 147"/>
                      <a:gd name="T3" fmla="*/ 404993681 h 195"/>
                      <a:gd name="T4" fmla="*/ 576329879 w 147"/>
                      <a:gd name="T5" fmla="*/ 0 h 195"/>
                      <a:gd name="T6" fmla="*/ 0 w 147"/>
                      <a:gd name="T7" fmla="*/ 1178709326 h 195"/>
                      <a:gd name="T8" fmla="*/ 668825594 w 147"/>
                      <a:gd name="T9" fmla="*/ 1178709326 h 195"/>
                      <a:gd name="T10" fmla="*/ 860936554 w 147"/>
                      <a:gd name="T11" fmla="*/ 622600933 h 195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47"/>
                      <a:gd name="T19" fmla="*/ 0 h 195"/>
                      <a:gd name="T20" fmla="*/ 147 w 147"/>
                      <a:gd name="T21" fmla="*/ 195 h 195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47" h="195">
                        <a:moveTo>
                          <a:pt x="121" y="103"/>
                        </a:moveTo>
                        <a:cubicBezTo>
                          <a:pt x="128" y="90"/>
                          <a:pt x="137" y="78"/>
                          <a:pt x="147" y="67"/>
                        </a:cubicBezTo>
                        <a:cubicBezTo>
                          <a:pt x="81" y="0"/>
                          <a:pt x="81" y="0"/>
                          <a:pt x="81" y="0"/>
                        </a:cubicBezTo>
                        <a:cubicBezTo>
                          <a:pt x="32" y="51"/>
                          <a:pt x="2" y="119"/>
                          <a:pt x="0" y="195"/>
                        </a:cubicBezTo>
                        <a:cubicBezTo>
                          <a:pt x="94" y="195"/>
                          <a:pt x="94" y="195"/>
                          <a:pt x="94" y="195"/>
                        </a:cubicBezTo>
                        <a:cubicBezTo>
                          <a:pt x="95" y="163"/>
                          <a:pt x="104" y="132"/>
                          <a:pt x="121" y="103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62" name="Freeform 68"/>
                  <p:cNvSpPr>
                    <a:spLocks/>
                  </p:cNvSpPr>
                  <p:nvPr/>
                </p:nvSpPr>
                <p:spPr bwMode="gray">
                  <a:xfrm>
                    <a:off x="4018237" y="3669800"/>
                    <a:ext cx="1183162" cy="953506"/>
                  </a:xfrm>
                  <a:custGeom>
                    <a:avLst/>
                    <a:gdLst>
                      <a:gd name="T0" fmla="*/ 1372118395 w 194"/>
                      <a:gd name="T1" fmla="*/ 569888961 h 147"/>
                      <a:gd name="T2" fmla="*/ 1372118395 w 194"/>
                      <a:gd name="T3" fmla="*/ 0 h 147"/>
                      <a:gd name="T4" fmla="*/ 0 w 194"/>
                      <a:gd name="T5" fmla="*/ 485012953 h 147"/>
                      <a:gd name="T6" fmla="*/ 466803328 w 194"/>
                      <a:gd name="T7" fmla="*/ 891209479 h 147"/>
                      <a:gd name="T8" fmla="*/ 1372118395 w 194"/>
                      <a:gd name="T9" fmla="*/ 569888961 h 147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94"/>
                      <a:gd name="T16" fmla="*/ 0 h 147"/>
                      <a:gd name="T17" fmla="*/ 194 w 194"/>
                      <a:gd name="T18" fmla="*/ 147 h 147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94" h="147">
                        <a:moveTo>
                          <a:pt x="194" y="94"/>
                        </a:moveTo>
                        <a:cubicBezTo>
                          <a:pt x="194" y="0"/>
                          <a:pt x="194" y="0"/>
                          <a:pt x="194" y="0"/>
                        </a:cubicBezTo>
                        <a:cubicBezTo>
                          <a:pt x="119" y="1"/>
                          <a:pt x="51" y="32"/>
                          <a:pt x="0" y="80"/>
                        </a:cubicBezTo>
                        <a:cubicBezTo>
                          <a:pt x="66" y="147"/>
                          <a:pt x="66" y="147"/>
                          <a:pt x="66" y="147"/>
                        </a:cubicBezTo>
                        <a:cubicBezTo>
                          <a:pt x="102" y="114"/>
                          <a:pt x="147" y="96"/>
                          <a:pt x="194" y="94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63" name="Freeform 69"/>
                  <p:cNvSpPr>
                    <a:spLocks/>
                  </p:cNvSpPr>
                  <p:nvPr/>
                </p:nvSpPr>
                <p:spPr bwMode="gray">
                  <a:xfrm>
                    <a:off x="5296179" y="3669800"/>
                    <a:ext cx="1184741" cy="953506"/>
                  </a:xfrm>
                  <a:custGeom>
                    <a:avLst/>
                    <a:gdLst>
                      <a:gd name="T0" fmla="*/ 650698840 w 194"/>
                      <a:gd name="T1" fmla="*/ 727517043 h 147"/>
                      <a:gd name="T2" fmla="*/ 905319648 w 194"/>
                      <a:gd name="T3" fmla="*/ 891209479 h 147"/>
                      <a:gd name="T4" fmla="*/ 1372123714 w 194"/>
                      <a:gd name="T5" fmla="*/ 485012953 h 147"/>
                      <a:gd name="T6" fmla="*/ 0 w 194"/>
                      <a:gd name="T7" fmla="*/ 0 h 147"/>
                      <a:gd name="T8" fmla="*/ 0 w 194"/>
                      <a:gd name="T9" fmla="*/ 569888961 h 147"/>
                      <a:gd name="T10" fmla="*/ 650698840 w 194"/>
                      <a:gd name="T11" fmla="*/ 727517043 h 147"/>
                      <a:gd name="T12" fmla="*/ 0 60000 65536"/>
                      <a:gd name="T13" fmla="*/ 0 60000 65536"/>
                      <a:gd name="T14" fmla="*/ 0 60000 65536"/>
                      <a:gd name="T15" fmla="*/ 0 60000 65536"/>
                      <a:gd name="T16" fmla="*/ 0 60000 65536"/>
                      <a:gd name="T17" fmla="*/ 0 60000 65536"/>
                      <a:gd name="T18" fmla="*/ 0 w 194"/>
                      <a:gd name="T19" fmla="*/ 0 h 147"/>
                      <a:gd name="T20" fmla="*/ 194 w 194"/>
                      <a:gd name="T21" fmla="*/ 147 h 147"/>
                    </a:gdLst>
                    <a:ahLst/>
                    <a:cxnLst>
                      <a:cxn ang="T12">
                        <a:pos x="T0" y="T1"/>
                      </a:cxn>
                      <a:cxn ang="T13">
                        <a:pos x="T2" y="T3"/>
                      </a:cxn>
                      <a:cxn ang="T14">
                        <a:pos x="T4" y="T5"/>
                      </a:cxn>
                      <a:cxn ang="T15">
                        <a:pos x="T6" y="T7"/>
                      </a:cxn>
                      <a:cxn ang="T16">
                        <a:pos x="T8" y="T9"/>
                      </a:cxn>
                      <a:cxn ang="T17">
                        <a:pos x="T10" y="T11"/>
                      </a:cxn>
                    </a:cxnLst>
                    <a:rect l="T18" t="T19" r="T20" b="T21"/>
                    <a:pathLst>
                      <a:path w="194" h="147">
                        <a:moveTo>
                          <a:pt x="92" y="120"/>
                        </a:moveTo>
                        <a:cubicBezTo>
                          <a:pt x="105" y="128"/>
                          <a:pt x="117" y="137"/>
                          <a:pt x="128" y="147"/>
                        </a:cubicBezTo>
                        <a:cubicBezTo>
                          <a:pt x="194" y="80"/>
                          <a:pt x="194" y="80"/>
                          <a:pt x="194" y="80"/>
                        </a:cubicBezTo>
                        <a:cubicBezTo>
                          <a:pt x="143" y="32"/>
                          <a:pt x="75" y="1"/>
                          <a:pt x="0" y="0"/>
                        </a:cubicBezTo>
                        <a:cubicBezTo>
                          <a:pt x="0" y="94"/>
                          <a:pt x="0" y="94"/>
                          <a:pt x="0" y="94"/>
                        </a:cubicBezTo>
                        <a:cubicBezTo>
                          <a:pt x="31" y="95"/>
                          <a:pt x="63" y="104"/>
                          <a:pt x="92" y="120"/>
                        </a:cubicBezTo>
                        <a:close/>
                      </a:path>
                    </a:pathLst>
                  </a:custGeom>
                  <a:solidFill>
                    <a:srgbClr val="00206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64" name="Freeform 78"/>
                  <p:cNvSpPr>
                    <a:spLocks/>
                  </p:cNvSpPr>
                  <p:nvPr/>
                </p:nvSpPr>
                <p:spPr bwMode="gray">
                  <a:xfrm>
                    <a:off x="6138135" y="4255286"/>
                    <a:ext cx="900403" cy="1262981"/>
                  </a:xfrm>
                  <a:custGeom>
                    <a:avLst/>
                    <a:gdLst>
                      <a:gd name="T0" fmla="*/ 1045930651 w 147"/>
                      <a:gd name="T1" fmla="*/ 1178709326 h 195"/>
                      <a:gd name="T2" fmla="*/ 469600772 w 147"/>
                      <a:gd name="T3" fmla="*/ 0 h 195"/>
                      <a:gd name="T4" fmla="*/ 0 w 147"/>
                      <a:gd name="T5" fmla="*/ 404993681 h 195"/>
                      <a:gd name="T6" fmla="*/ 377105057 w 147"/>
                      <a:gd name="T7" fmla="*/ 1178709326 h 195"/>
                      <a:gd name="T8" fmla="*/ 1045930651 w 147"/>
                      <a:gd name="T9" fmla="*/ 1178709326 h 195"/>
                      <a:gd name="T10" fmla="*/ 0 60000 65536"/>
                      <a:gd name="T11" fmla="*/ 0 60000 65536"/>
                      <a:gd name="T12" fmla="*/ 0 60000 65536"/>
                      <a:gd name="T13" fmla="*/ 0 60000 65536"/>
                      <a:gd name="T14" fmla="*/ 0 60000 65536"/>
                      <a:gd name="T15" fmla="*/ 0 w 147"/>
                      <a:gd name="T16" fmla="*/ 0 h 195"/>
                      <a:gd name="T17" fmla="*/ 147 w 147"/>
                      <a:gd name="T18" fmla="*/ 195 h 195"/>
                    </a:gdLst>
                    <a:ahLst/>
                    <a:cxnLst>
                      <a:cxn ang="T10">
                        <a:pos x="T0" y="T1"/>
                      </a:cxn>
                      <a:cxn ang="T11">
                        <a:pos x="T2" y="T3"/>
                      </a:cxn>
                      <a:cxn ang="T12">
                        <a:pos x="T4" y="T5"/>
                      </a:cxn>
                      <a:cxn ang="T13">
                        <a:pos x="T6" y="T7"/>
                      </a:cxn>
                      <a:cxn ang="T14">
                        <a:pos x="T8" y="T9"/>
                      </a:cxn>
                    </a:cxnLst>
                    <a:rect l="T15" t="T16" r="T17" b="T18"/>
                    <a:pathLst>
                      <a:path w="147" h="195">
                        <a:moveTo>
                          <a:pt x="147" y="195"/>
                        </a:moveTo>
                        <a:cubicBezTo>
                          <a:pt x="145" y="119"/>
                          <a:pt x="115" y="51"/>
                          <a:pt x="66" y="0"/>
                        </a:cubicBezTo>
                        <a:cubicBezTo>
                          <a:pt x="0" y="67"/>
                          <a:pt x="0" y="67"/>
                          <a:pt x="0" y="67"/>
                        </a:cubicBezTo>
                        <a:cubicBezTo>
                          <a:pt x="32" y="102"/>
                          <a:pt x="51" y="148"/>
                          <a:pt x="53" y="195"/>
                        </a:cubicBezTo>
                        <a:lnTo>
                          <a:pt x="147" y="195"/>
                        </a:lnTo>
                        <a:close/>
                      </a:path>
                    </a:pathLst>
                  </a:custGeom>
                  <a:solidFill>
                    <a:srgbClr val="002060"/>
                  </a:solidFill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4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65" name="Oval 81"/>
                  <p:cNvSpPr>
                    <a:spLocks noChangeAspect="1" noChangeArrowheads="1"/>
                  </p:cNvSpPr>
                  <p:nvPr>
                    <p:custDataLst>
                      <p:tags r:id="rId1"/>
                    </p:custDataLst>
                  </p:nvPr>
                </p:nvSpPr>
                <p:spPr bwMode="gray">
                  <a:xfrm>
                    <a:off x="4710128" y="5003039"/>
                    <a:ext cx="1039414" cy="1095696"/>
                  </a:xfrm>
                  <a:prstGeom prst="ellipse">
                    <a:avLst/>
                  </a:prstGeom>
                  <a:solidFill>
                    <a:srgbClr val="002060"/>
                  </a:solidFill>
                  <a:ln w="38100">
                    <a:solidFill>
                      <a:srgbClr val="FFFFFF"/>
                    </a:solidFill>
                    <a:miter lim="800000"/>
                    <a:headEnd/>
                    <a:tailEnd/>
                  </a:ln>
                </p:spPr>
                <p:txBody>
                  <a:bodyPr lIns="0" tIns="0" rIns="0" bIns="0" anchor="ctr"/>
                  <a:lstStyle/>
                  <a:p>
                    <a:pPr marL="177800" marR="0" lvl="0" indent="-177800" algn="ctr" defTabSz="801688" eaLnBrk="1" fontAlgn="auto" latinLnBrk="0" hangingPunct="1">
                      <a:lnSpc>
                        <a:spcPct val="100000"/>
                      </a:lnSpc>
                      <a:spcBef>
                        <a:spcPct val="2000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de-DE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66" name="TextBox 110"/>
                  <p:cNvSpPr txBox="1"/>
                  <p:nvPr/>
                </p:nvSpPr>
                <p:spPr>
                  <a:xfrm rot="4097457">
                    <a:off x="4831948" y="4574661"/>
                    <a:ext cx="2118673" cy="1347711"/>
                  </a:xfrm>
                  <a:prstGeom prst="rect">
                    <a:avLst/>
                  </a:prstGeom>
                  <a:noFill/>
                </p:spPr>
                <p:txBody>
                  <a:bodyPr spcFirstLastPara="1" lIns="0" tIns="0" rIns="0" bIns="0" anchor="ctr">
                    <a:prstTxWarp prst="textArchUp">
                      <a:avLst/>
                    </a:prstTxWarp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Custodia </a:t>
                    </a:r>
                  </a:p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documental</a:t>
                    </a:r>
                  </a:p>
                </p:txBody>
              </p:sp>
              <p:sp>
                <p:nvSpPr>
                  <p:cNvPr id="67" name="TextBox 110"/>
                  <p:cNvSpPr txBox="1"/>
                  <p:nvPr/>
                </p:nvSpPr>
                <p:spPr>
                  <a:xfrm rot="1508849">
                    <a:off x="4498320" y="4123896"/>
                    <a:ext cx="2000677" cy="1461891"/>
                  </a:xfrm>
                  <a:prstGeom prst="rect">
                    <a:avLst/>
                  </a:prstGeom>
                  <a:noFill/>
                </p:spPr>
                <p:txBody>
                  <a:bodyPr spcFirstLastPara="1" lIns="0" tIns="0" rIns="0" bIns="0" anchor="ctr">
                    <a:prstTxWarp prst="textArchUp">
                      <a:avLst/>
                    </a:prstTxWarp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0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SMS</a:t>
                    </a:r>
                  </a:p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certificado</a:t>
                    </a: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 pitchFamily="18" charset="0"/>
                    </a:endParaRPr>
                  </a:p>
                </p:txBody>
              </p:sp>
              <p:sp>
                <p:nvSpPr>
                  <p:cNvPr id="68" name="TextBox 110"/>
                  <p:cNvSpPr txBox="1"/>
                  <p:nvPr/>
                </p:nvSpPr>
                <p:spPr>
                  <a:xfrm rot="19980596">
                    <a:off x="4027912" y="4136366"/>
                    <a:ext cx="2000677" cy="1461891"/>
                  </a:xfrm>
                  <a:prstGeom prst="rect">
                    <a:avLst/>
                  </a:prstGeom>
                  <a:noFill/>
                </p:spPr>
                <p:txBody>
                  <a:bodyPr spcFirstLastPara="1" lIns="0" tIns="0" rIns="0" bIns="0" anchor="ctr">
                    <a:prstTxWarp prst="textArchUp">
                      <a:avLst/>
                    </a:prstTxWarp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Fax</a:t>
                    </a:r>
                  </a:p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n-GB" sz="1200" b="0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certificado</a:t>
                    </a:r>
                    <a:endParaRPr kumimoji="0" lang="en-GB" sz="12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 pitchFamily="18" charset="0"/>
                    </a:endParaRPr>
                  </a:p>
                </p:txBody>
              </p:sp>
              <p:sp>
                <p:nvSpPr>
                  <p:cNvPr id="69" name="TextBox 110"/>
                  <p:cNvSpPr txBox="1"/>
                  <p:nvPr/>
                </p:nvSpPr>
                <p:spPr>
                  <a:xfrm rot="17511043">
                    <a:off x="3373928" y="4715509"/>
                    <a:ext cx="2016196" cy="917951"/>
                  </a:xfrm>
                  <a:prstGeom prst="rect">
                    <a:avLst/>
                  </a:prstGeom>
                  <a:noFill/>
                </p:spPr>
                <p:txBody>
                  <a:bodyPr spcFirstLastPara="1" lIns="0" tIns="0" rIns="0" bIns="0" anchor="ctr">
                    <a:prstTxWarp prst="textArchUp">
                      <a:avLst/>
                    </a:prstTxWarp>
                  </a:bodyPr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Correo </a:t>
                    </a:r>
                  </a:p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200" b="0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certificado</a:t>
                    </a:r>
                  </a:p>
                </p:txBody>
              </p:sp>
              <p:sp>
                <p:nvSpPr>
                  <p:cNvPr id="70" name="Freeform 87"/>
                  <p:cNvSpPr>
                    <a:spLocks/>
                  </p:cNvSpPr>
                  <p:nvPr/>
                </p:nvSpPr>
                <p:spPr bwMode="gray">
                  <a:xfrm rot="16200000">
                    <a:off x="4571578" y="3723774"/>
                    <a:ext cx="1316509" cy="2255747"/>
                  </a:xfrm>
                  <a:custGeom>
                    <a:avLst/>
                    <a:gdLst>
                      <a:gd name="T0" fmla="*/ 512222640 w 205"/>
                      <a:gd name="T1" fmla="*/ 151339790 h 371"/>
                      <a:gd name="T2" fmla="*/ 0 w 205"/>
                      <a:gd name="T3" fmla="*/ 0 h 371"/>
                      <a:gd name="T4" fmla="*/ 0 w 205"/>
                      <a:gd name="T5" fmla="*/ 575093668 h 371"/>
                      <a:gd name="T6" fmla="*/ 228992937 w 205"/>
                      <a:gd name="T7" fmla="*/ 647737395 h 371"/>
                      <a:gd name="T8" fmla="*/ 427855428 w 205"/>
                      <a:gd name="T9" fmla="*/ 1398386312 h 371"/>
                      <a:gd name="T10" fmla="*/ 0 w 205"/>
                      <a:gd name="T11" fmla="*/ 1676852930 h 371"/>
                      <a:gd name="T12" fmla="*/ 0 w 205"/>
                      <a:gd name="T13" fmla="*/ 2147483647 h 371"/>
                      <a:gd name="T14" fmla="*/ 921998328 w 205"/>
                      <a:gd name="T15" fmla="*/ 1688958142 h 371"/>
                      <a:gd name="T16" fmla="*/ 512222640 w 205"/>
                      <a:gd name="T17" fmla="*/ 151339790 h 371"/>
                      <a:gd name="T18" fmla="*/ 0 60000 65536"/>
                      <a:gd name="T19" fmla="*/ 0 60000 65536"/>
                      <a:gd name="T20" fmla="*/ 0 60000 65536"/>
                      <a:gd name="T21" fmla="*/ 0 60000 65536"/>
                      <a:gd name="T22" fmla="*/ 0 60000 65536"/>
                      <a:gd name="T23" fmla="*/ 0 60000 65536"/>
                      <a:gd name="T24" fmla="*/ 0 60000 65536"/>
                      <a:gd name="T25" fmla="*/ 0 60000 65536"/>
                      <a:gd name="T26" fmla="*/ 0 60000 65536"/>
                      <a:gd name="T27" fmla="*/ 0 w 205"/>
                      <a:gd name="T28" fmla="*/ 0 h 371"/>
                      <a:gd name="T29" fmla="*/ 205 w 205"/>
                      <a:gd name="T30" fmla="*/ 371 h 371"/>
                    </a:gdLst>
                    <a:ahLst/>
                    <a:cxnLst>
                      <a:cxn ang="T18">
                        <a:pos x="T0" y="T1"/>
                      </a:cxn>
                      <a:cxn ang="T19">
                        <a:pos x="T2" y="T3"/>
                      </a:cxn>
                      <a:cxn ang="T20">
                        <a:pos x="T4" y="T5"/>
                      </a:cxn>
                      <a:cxn ang="T21">
                        <a:pos x="T6" y="T7"/>
                      </a:cxn>
                      <a:cxn ang="T22">
                        <a:pos x="T8" y="T9"/>
                      </a:cxn>
                      <a:cxn ang="T23">
                        <a:pos x="T10" y="T11"/>
                      </a:cxn>
                      <a:cxn ang="T24">
                        <a:pos x="T12" y="T13"/>
                      </a:cxn>
                      <a:cxn ang="T25">
                        <a:pos x="T14" y="T15"/>
                      </a:cxn>
                      <a:cxn ang="T26">
                        <a:pos x="T16" y="T17"/>
                      </a:cxn>
                    </a:cxnLst>
                    <a:rect l="T27" t="T28" r="T29" b="T30"/>
                    <a:pathLst>
                      <a:path w="205" h="371">
                        <a:moveTo>
                          <a:pt x="85" y="25"/>
                        </a:moveTo>
                        <a:cubicBezTo>
                          <a:pt x="58" y="9"/>
                          <a:pt x="29" y="1"/>
                          <a:pt x="0" y="0"/>
                        </a:cubicBezTo>
                        <a:cubicBezTo>
                          <a:pt x="0" y="95"/>
                          <a:pt x="0" y="95"/>
                          <a:pt x="0" y="95"/>
                        </a:cubicBezTo>
                        <a:cubicBezTo>
                          <a:pt x="13" y="96"/>
                          <a:pt x="26" y="100"/>
                          <a:pt x="38" y="107"/>
                        </a:cubicBezTo>
                        <a:cubicBezTo>
                          <a:pt x="82" y="132"/>
                          <a:pt x="97" y="188"/>
                          <a:pt x="71" y="231"/>
                        </a:cubicBezTo>
                        <a:cubicBezTo>
                          <a:pt x="56" y="258"/>
                          <a:pt x="28" y="274"/>
                          <a:pt x="0" y="277"/>
                        </a:cubicBezTo>
                        <a:cubicBezTo>
                          <a:pt x="0" y="371"/>
                          <a:pt x="0" y="371"/>
                          <a:pt x="0" y="371"/>
                        </a:cubicBezTo>
                        <a:cubicBezTo>
                          <a:pt x="61" y="369"/>
                          <a:pt x="120" y="336"/>
                          <a:pt x="153" y="279"/>
                        </a:cubicBezTo>
                        <a:cubicBezTo>
                          <a:pt x="205" y="190"/>
                          <a:pt x="174" y="76"/>
                          <a:pt x="85" y="25"/>
                        </a:cubicBezTo>
                        <a:close/>
                      </a:path>
                    </a:pathLst>
                  </a:custGeom>
                  <a:solidFill>
                    <a:srgbClr val="002060">
                      <a:alpha val="23137"/>
                    </a:srgbClr>
                  </a:solidFill>
                  <a:ln w="3175">
                    <a:noFill/>
                    <a:miter lim="800000"/>
                    <a:headEnd/>
                    <a:tailEnd/>
                  </a:ln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4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/>
                    </a:endParaRPr>
                  </a:p>
                </p:txBody>
              </p:sp>
              <p:sp>
                <p:nvSpPr>
                  <p:cNvPr id="71" name="80 CuadroTexto"/>
                  <p:cNvSpPr txBox="1"/>
                  <p:nvPr/>
                </p:nvSpPr>
                <p:spPr>
                  <a:xfrm>
                    <a:off x="2504728" y="5634948"/>
                    <a:ext cx="1598969" cy="448067"/>
                  </a:xfrm>
                  <a:prstGeom prst="rect">
                    <a:avLst/>
                  </a:prstGeom>
                  <a:noFill/>
                </p:spPr>
                <p:txBody>
                  <a:bodyPr lIns="0" tIns="0" rIns="0" bIns="0"/>
                  <a:lstStyle/>
                  <a:p>
                    <a:pPr marL="0" marR="0" lvl="0" indent="-27432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1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Firma </a:t>
                    </a:r>
                    <a:r>
                      <a:rPr kumimoji="0" lang="es-ES" sz="11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electrónica,</a:t>
                    </a:r>
                    <a:r>
                      <a:rPr kumimoji="0" lang="es-ES" sz="1100" b="1" i="0" u="none" strike="noStrike" kern="0" cap="none" spc="0" normalizeH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 </a:t>
                    </a:r>
                    <a:r>
                      <a:rPr lang="es-ES" sz="1100" b="1" kern="0" noProof="0" dirty="0">
                        <a:solidFill>
                          <a:srgbClr val="002060"/>
                        </a:solidFill>
                        <a:latin typeface="Georgia" pitchFamily="18" charset="0"/>
                      </a:rPr>
                      <a:t>S</a:t>
                    </a:r>
                    <a:r>
                      <a:rPr lang="es-ES" sz="1100" b="1" kern="0" noProof="0" dirty="0" smtClean="0">
                        <a:solidFill>
                          <a:srgbClr val="002060"/>
                        </a:solidFill>
                        <a:latin typeface="Georgia" pitchFamily="18" charset="0"/>
                      </a:rPr>
                      <a:t>ellado </a:t>
                    </a:r>
                    <a:r>
                      <a:rPr kumimoji="0" lang="es-ES" sz="1100" b="1" i="0" u="none" strike="noStrike" kern="0" cap="none" spc="0" normalizeH="0" baseline="0" noProof="0" dirty="0" smtClean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de </a:t>
                    </a:r>
                    <a:r>
                      <a:rPr kumimoji="0" lang="es-ES" sz="11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tiempo </a:t>
                    </a:r>
                  </a:p>
                </p:txBody>
              </p:sp>
              <p:sp>
                <p:nvSpPr>
                  <p:cNvPr id="72" name="81 CuadroTexto"/>
                  <p:cNvSpPr txBox="1"/>
                  <p:nvPr/>
                </p:nvSpPr>
                <p:spPr>
                  <a:xfrm>
                    <a:off x="6073309" y="5618625"/>
                    <a:ext cx="1998264" cy="271470"/>
                  </a:xfrm>
                  <a:prstGeom prst="rect">
                    <a:avLst/>
                  </a:prstGeom>
                  <a:noFill/>
                </p:spPr>
                <p:txBody>
                  <a:bodyPr lIns="0" tIns="0" rIns="0" bIns="0"/>
                  <a:lstStyle/>
                  <a:p>
                    <a:pPr marL="0" marR="0" lvl="0" indent="-274320" algn="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9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1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Pasarela segura de comunicación</a:t>
                    </a:r>
                  </a:p>
                </p:txBody>
              </p:sp>
              <p:sp>
                <p:nvSpPr>
                  <p:cNvPr id="73" name="Freeform 4851"/>
                  <p:cNvSpPr>
                    <a:spLocks noEditPoints="1"/>
                  </p:cNvSpPr>
                  <p:nvPr/>
                </p:nvSpPr>
                <p:spPr bwMode="auto">
                  <a:xfrm>
                    <a:off x="5021218" y="5264675"/>
                    <a:ext cx="454941" cy="508537"/>
                  </a:xfrm>
                  <a:custGeom>
                    <a:avLst/>
                    <a:gdLst>
                      <a:gd name="T0" fmla="*/ 248 w 360"/>
                      <a:gd name="T1" fmla="*/ 8 h 380"/>
                      <a:gd name="T2" fmla="*/ 274 w 360"/>
                      <a:gd name="T3" fmla="*/ 0 h 380"/>
                      <a:gd name="T4" fmla="*/ 298 w 360"/>
                      <a:gd name="T5" fmla="*/ 28 h 380"/>
                      <a:gd name="T6" fmla="*/ 280 w 360"/>
                      <a:gd name="T7" fmla="*/ 56 h 380"/>
                      <a:gd name="T8" fmla="*/ 258 w 360"/>
                      <a:gd name="T9" fmla="*/ 56 h 380"/>
                      <a:gd name="T10" fmla="*/ 240 w 360"/>
                      <a:gd name="T11" fmla="*/ 28 h 380"/>
                      <a:gd name="T12" fmla="*/ 344 w 360"/>
                      <a:gd name="T13" fmla="*/ 88 h 380"/>
                      <a:gd name="T14" fmla="*/ 288 w 360"/>
                      <a:gd name="T15" fmla="*/ 68 h 380"/>
                      <a:gd name="T16" fmla="*/ 214 w 360"/>
                      <a:gd name="T17" fmla="*/ 70 h 380"/>
                      <a:gd name="T18" fmla="*/ 194 w 360"/>
                      <a:gd name="T19" fmla="*/ 90 h 380"/>
                      <a:gd name="T20" fmla="*/ 224 w 360"/>
                      <a:gd name="T21" fmla="*/ 114 h 380"/>
                      <a:gd name="T22" fmla="*/ 248 w 360"/>
                      <a:gd name="T23" fmla="*/ 166 h 380"/>
                      <a:gd name="T24" fmla="*/ 234 w 360"/>
                      <a:gd name="T25" fmla="*/ 208 h 380"/>
                      <a:gd name="T26" fmla="*/ 278 w 360"/>
                      <a:gd name="T27" fmla="*/ 214 h 380"/>
                      <a:gd name="T28" fmla="*/ 310 w 360"/>
                      <a:gd name="T29" fmla="*/ 244 h 380"/>
                      <a:gd name="T30" fmla="*/ 332 w 360"/>
                      <a:gd name="T31" fmla="*/ 200 h 380"/>
                      <a:gd name="T32" fmla="*/ 348 w 360"/>
                      <a:gd name="T33" fmla="*/ 208 h 380"/>
                      <a:gd name="T34" fmla="*/ 360 w 360"/>
                      <a:gd name="T35" fmla="*/ 190 h 380"/>
                      <a:gd name="T36" fmla="*/ 102 w 360"/>
                      <a:gd name="T37" fmla="*/ 56 h 380"/>
                      <a:gd name="T38" fmla="*/ 120 w 360"/>
                      <a:gd name="T39" fmla="*/ 28 h 380"/>
                      <a:gd name="T40" fmla="*/ 98 w 360"/>
                      <a:gd name="T41" fmla="*/ 0 h 380"/>
                      <a:gd name="T42" fmla="*/ 70 w 360"/>
                      <a:gd name="T43" fmla="*/ 8 h 380"/>
                      <a:gd name="T44" fmla="*/ 62 w 360"/>
                      <a:gd name="T45" fmla="*/ 34 h 380"/>
                      <a:gd name="T46" fmla="*/ 92 w 360"/>
                      <a:gd name="T47" fmla="*/ 58 h 380"/>
                      <a:gd name="T48" fmla="*/ 50 w 360"/>
                      <a:gd name="T49" fmla="*/ 244 h 380"/>
                      <a:gd name="T50" fmla="*/ 74 w 360"/>
                      <a:gd name="T51" fmla="*/ 218 h 380"/>
                      <a:gd name="T52" fmla="*/ 126 w 360"/>
                      <a:gd name="T53" fmla="*/ 208 h 380"/>
                      <a:gd name="T54" fmla="*/ 112 w 360"/>
                      <a:gd name="T55" fmla="*/ 166 h 380"/>
                      <a:gd name="T56" fmla="*/ 128 w 360"/>
                      <a:gd name="T57" fmla="*/ 122 h 380"/>
                      <a:gd name="T58" fmla="*/ 166 w 360"/>
                      <a:gd name="T59" fmla="*/ 90 h 380"/>
                      <a:gd name="T60" fmla="*/ 154 w 360"/>
                      <a:gd name="T61" fmla="*/ 74 h 380"/>
                      <a:gd name="T62" fmla="*/ 72 w 360"/>
                      <a:gd name="T63" fmla="*/ 68 h 380"/>
                      <a:gd name="T64" fmla="*/ 20 w 360"/>
                      <a:gd name="T65" fmla="*/ 80 h 380"/>
                      <a:gd name="T66" fmla="*/ 0 w 360"/>
                      <a:gd name="T67" fmla="*/ 190 h 380"/>
                      <a:gd name="T68" fmla="*/ 12 w 360"/>
                      <a:gd name="T69" fmla="*/ 208 h 380"/>
                      <a:gd name="T70" fmla="*/ 28 w 360"/>
                      <a:gd name="T71" fmla="*/ 200 h 380"/>
                      <a:gd name="T72" fmla="*/ 170 w 360"/>
                      <a:gd name="T73" fmla="*/ 118 h 380"/>
                      <a:gd name="T74" fmla="*/ 136 w 360"/>
                      <a:gd name="T75" fmla="*/ 146 h 380"/>
                      <a:gd name="T76" fmla="*/ 136 w 360"/>
                      <a:gd name="T77" fmla="*/ 184 h 380"/>
                      <a:gd name="T78" fmla="*/ 170 w 360"/>
                      <a:gd name="T79" fmla="*/ 214 h 380"/>
                      <a:gd name="T80" fmla="*/ 208 w 360"/>
                      <a:gd name="T81" fmla="*/ 206 h 380"/>
                      <a:gd name="T82" fmla="*/ 228 w 360"/>
                      <a:gd name="T83" fmla="*/ 166 h 380"/>
                      <a:gd name="T84" fmla="*/ 214 w 360"/>
                      <a:gd name="T85" fmla="*/ 132 h 380"/>
                      <a:gd name="T86" fmla="*/ 296 w 360"/>
                      <a:gd name="T87" fmla="*/ 260 h 380"/>
                      <a:gd name="T88" fmla="*/ 288 w 360"/>
                      <a:gd name="T89" fmla="*/ 246 h 380"/>
                      <a:gd name="T90" fmla="*/ 180 w 360"/>
                      <a:gd name="T91" fmla="*/ 278 h 380"/>
                      <a:gd name="T92" fmla="*/ 82 w 360"/>
                      <a:gd name="T93" fmla="*/ 236 h 380"/>
                      <a:gd name="T94" fmla="*/ 64 w 360"/>
                      <a:gd name="T95" fmla="*/ 260 h 380"/>
                      <a:gd name="T96" fmla="*/ 106 w 360"/>
                      <a:gd name="T97" fmla="*/ 304 h 380"/>
                      <a:gd name="T98" fmla="*/ 146 w 360"/>
                      <a:gd name="T99" fmla="*/ 378 h 380"/>
                      <a:gd name="T100" fmla="*/ 214 w 360"/>
                      <a:gd name="T101" fmla="*/ 378 h 380"/>
                      <a:gd name="T102" fmla="*/ 264 w 360"/>
                      <a:gd name="T103" fmla="*/ 362 h 380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</a:cxnLst>
                    <a:rect l="0" t="0" r="r" b="b"/>
                    <a:pathLst>
                      <a:path w="360" h="380">
                        <a:moveTo>
                          <a:pt x="240" y="28"/>
                        </a:moveTo>
                        <a:lnTo>
                          <a:pt x="240" y="28"/>
                        </a:lnTo>
                        <a:lnTo>
                          <a:pt x="240" y="22"/>
                        </a:lnTo>
                        <a:lnTo>
                          <a:pt x="242" y="18"/>
                        </a:lnTo>
                        <a:lnTo>
                          <a:pt x="248" y="8"/>
                        </a:lnTo>
                        <a:lnTo>
                          <a:pt x="258" y="2"/>
                        </a:lnTo>
                        <a:lnTo>
                          <a:pt x="262" y="0"/>
                        </a:lnTo>
                        <a:lnTo>
                          <a:pt x="268" y="0"/>
                        </a:lnTo>
                        <a:lnTo>
                          <a:pt x="268" y="0"/>
                        </a:lnTo>
                        <a:lnTo>
                          <a:pt x="274" y="0"/>
                        </a:lnTo>
                        <a:lnTo>
                          <a:pt x="280" y="2"/>
                        </a:lnTo>
                        <a:lnTo>
                          <a:pt x="290" y="8"/>
                        </a:lnTo>
                        <a:lnTo>
                          <a:pt x="296" y="18"/>
                        </a:lnTo>
                        <a:lnTo>
                          <a:pt x="298" y="22"/>
                        </a:lnTo>
                        <a:lnTo>
                          <a:pt x="298" y="28"/>
                        </a:lnTo>
                        <a:lnTo>
                          <a:pt x="298" y="28"/>
                        </a:lnTo>
                        <a:lnTo>
                          <a:pt x="298" y="34"/>
                        </a:lnTo>
                        <a:lnTo>
                          <a:pt x="296" y="40"/>
                        </a:lnTo>
                        <a:lnTo>
                          <a:pt x="290" y="50"/>
                        </a:lnTo>
                        <a:lnTo>
                          <a:pt x="280" y="56"/>
                        </a:lnTo>
                        <a:lnTo>
                          <a:pt x="274" y="58"/>
                        </a:lnTo>
                        <a:lnTo>
                          <a:pt x="268" y="58"/>
                        </a:lnTo>
                        <a:lnTo>
                          <a:pt x="268" y="58"/>
                        </a:lnTo>
                        <a:lnTo>
                          <a:pt x="262" y="58"/>
                        </a:lnTo>
                        <a:lnTo>
                          <a:pt x="258" y="56"/>
                        </a:lnTo>
                        <a:lnTo>
                          <a:pt x="248" y="50"/>
                        </a:lnTo>
                        <a:lnTo>
                          <a:pt x="242" y="40"/>
                        </a:lnTo>
                        <a:lnTo>
                          <a:pt x="240" y="34"/>
                        </a:lnTo>
                        <a:lnTo>
                          <a:pt x="240" y="28"/>
                        </a:lnTo>
                        <a:lnTo>
                          <a:pt x="240" y="28"/>
                        </a:lnTo>
                        <a:close/>
                        <a:moveTo>
                          <a:pt x="360" y="190"/>
                        </a:moveTo>
                        <a:lnTo>
                          <a:pt x="344" y="90"/>
                        </a:lnTo>
                        <a:lnTo>
                          <a:pt x="344" y="90"/>
                        </a:lnTo>
                        <a:lnTo>
                          <a:pt x="344" y="88"/>
                        </a:lnTo>
                        <a:lnTo>
                          <a:pt x="344" y="88"/>
                        </a:lnTo>
                        <a:lnTo>
                          <a:pt x="340" y="80"/>
                        </a:lnTo>
                        <a:lnTo>
                          <a:pt x="332" y="74"/>
                        </a:lnTo>
                        <a:lnTo>
                          <a:pt x="324" y="70"/>
                        </a:lnTo>
                        <a:lnTo>
                          <a:pt x="314" y="68"/>
                        </a:lnTo>
                        <a:lnTo>
                          <a:pt x="288" y="68"/>
                        </a:lnTo>
                        <a:lnTo>
                          <a:pt x="270" y="102"/>
                        </a:lnTo>
                        <a:lnTo>
                          <a:pt x="250" y="68"/>
                        </a:lnTo>
                        <a:lnTo>
                          <a:pt x="222" y="68"/>
                        </a:lnTo>
                        <a:lnTo>
                          <a:pt x="222" y="68"/>
                        </a:lnTo>
                        <a:lnTo>
                          <a:pt x="214" y="70"/>
                        </a:lnTo>
                        <a:lnTo>
                          <a:pt x="206" y="74"/>
                        </a:lnTo>
                        <a:lnTo>
                          <a:pt x="198" y="80"/>
                        </a:lnTo>
                        <a:lnTo>
                          <a:pt x="194" y="88"/>
                        </a:lnTo>
                        <a:lnTo>
                          <a:pt x="194" y="88"/>
                        </a:lnTo>
                        <a:lnTo>
                          <a:pt x="194" y="90"/>
                        </a:lnTo>
                        <a:lnTo>
                          <a:pt x="192" y="98"/>
                        </a:lnTo>
                        <a:lnTo>
                          <a:pt x="192" y="98"/>
                        </a:lnTo>
                        <a:lnTo>
                          <a:pt x="204" y="102"/>
                        </a:lnTo>
                        <a:lnTo>
                          <a:pt x="214" y="106"/>
                        </a:lnTo>
                        <a:lnTo>
                          <a:pt x="224" y="114"/>
                        </a:lnTo>
                        <a:lnTo>
                          <a:pt x="232" y="122"/>
                        </a:lnTo>
                        <a:lnTo>
                          <a:pt x="240" y="132"/>
                        </a:lnTo>
                        <a:lnTo>
                          <a:pt x="244" y="142"/>
                        </a:lnTo>
                        <a:lnTo>
                          <a:pt x="248" y="154"/>
                        </a:lnTo>
                        <a:lnTo>
                          <a:pt x="248" y="166"/>
                        </a:lnTo>
                        <a:lnTo>
                          <a:pt x="248" y="166"/>
                        </a:lnTo>
                        <a:lnTo>
                          <a:pt x="248" y="178"/>
                        </a:lnTo>
                        <a:lnTo>
                          <a:pt x="246" y="188"/>
                        </a:lnTo>
                        <a:lnTo>
                          <a:pt x="240" y="198"/>
                        </a:lnTo>
                        <a:lnTo>
                          <a:pt x="234" y="208"/>
                        </a:lnTo>
                        <a:lnTo>
                          <a:pt x="250" y="208"/>
                        </a:lnTo>
                        <a:lnTo>
                          <a:pt x="250" y="208"/>
                        </a:lnTo>
                        <a:lnTo>
                          <a:pt x="260" y="208"/>
                        </a:lnTo>
                        <a:lnTo>
                          <a:pt x="270" y="210"/>
                        </a:lnTo>
                        <a:lnTo>
                          <a:pt x="278" y="214"/>
                        </a:lnTo>
                        <a:lnTo>
                          <a:pt x="286" y="218"/>
                        </a:lnTo>
                        <a:lnTo>
                          <a:pt x="294" y="222"/>
                        </a:lnTo>
                        <a:lnTo>
                          <a:pt x="300" y="228"/>
                        </a:lnTo>
                        <a:lnTo>
                          <a:pt x="306" y="236"/>
                        </a:lnTo>
                        <a:lnTo>
                          <a:pt x="310" y="244"/>
                        </a:lnTo>
                        <a:lnTo>
                          <a:pt x="308" y="118"/>
                        </a:lnTo>
                        <a:lnTo>
                          <a:pt x="318" y="118"/>
                        </a:lnTo>
                        <a:lnTo>
                          <a:pt x="330" y="196"/>
                        </a:lnTo>
                        <a:lnTo>
                          <a:pt x="330" y="196"/>
                        </a:lnTo>
                        <a:lnTo>
                          <a:pt x="332" y="200"/>
                        </a:lnTo>
                        <a:lnTo>
                          <a:pt x="336" y="204"/>
                        </a:lnTo>
                        <a:lnTo>
                          <a:pt x="340" y="208"/>
                        </a:lnTo>
                        <a:lnTo>
                          <a:pt x="346" y="208"/>
                        </a:lnTo>
                        <a:lnTo>
                          <a:pt x="346" y="208"/>
                        </a:lnTo>
                        <a:lnTo>
                          <a:pt x="348" y="208"/>
                        </a:lnTo>
                        <a:lnTo>
                          <a:pt x="348" y="208"/>
                        </a:lnTo>
                        <a:lnTo>
                          <a:pt x="354" y="206"/>
                        </a:lnTo>
                        <a:lnTo>
                          <a:pt x="358" y="202"/>
                        </a:lnTo>
                        <a:lnTo>
                          <a:pt x="360" y="196"/>
                        </a:lnTo>
                        <a:lnTo>
                          <a:pt x="360" y="190"/>
                        </a:lnTo>
                        <a:lnTo>
                          <a:pt x="360" y="190"/>
                        </a:lnTo>
                        <a:close/>
                        <a:moveTo>
                          <a:pt x="92" y="58"/>
                        </a:moveTo>
                        <a:lnTo>
                          <a:pt x="92" y="58"/>
                        </a:lnTo>
                        <a:lnTo>
                          <a:pt x="98" y="58"/>
                        </a:lnTo>
                        <a:lnTo>
                          <a:pt x="102" y="56"/>
                        </a:lnTo>
                        <a:lnTo>
                          <a:pt x="112" y="50"/>
                        </a:lnTo>
                        <a:lnTo>
                          <a:pt x="118" y="40"/>
                        </a:lnTo>
                        <a:lnTo>
                          <a:pt x="120" y="34"/>
                        </a:lnTo>
                        <a:lnTo>
                          <a:pt x="120" y="28"/>
                        </a:lnTo>
                        <a:lnTo>
                          <a:pt x="120" y="28"/>
                        </a:lnTo>
                        <a:lnTo>
                          <a:pt x="120" y="22"/>
                        </a:lnTo>
                        <a:lnTo>
                          <a:pt x="118" y="18"/>
                        </a:lnTo>
                        <a:lnTo>
                          <a:pt x="112" y="8"/>
                        </a:lnTo>
                        <a:lnTo>
                          <a:pt x="102" y="2"/>
                        </a:lnTo>
                        <a:lnTo>
                          <a:pt x="98" y="0"/>
                        </a:lnTo>
                        <a:lnTo>
                          <a:pt x="92" y="0"/>
                        </a:lnTo>
                        <a:lnTo>
                          <a:pt x="92" y="0"/>
                        </a:lnTo>
                        <a:lnTo>
                          <a:pt x="86" y="0"/>
                        </a:lnTo>
                        <a:lnTo>
                          <a:pt x="80" y="2"/>
                        </a:lnTo>
                        <a:lnTo>
                          <a:pt x="70" y="8"/>
                        </a:lnTo>
                        <a:lnTo>
                          <a:pt x="64" y="18"/>
                        </a:lnTo>
                        <a:lnTo>
                          <a:pt x="62" y="22"/>
                        </a:lnTo>
                        <a:lnTo>
                          <a:pt x="62" y="28"/>
                        </a:lnTo>
                        <a:lnTo>
                          <a:pt x="62" y="28"/>
                        </a:lnTo>
                        <a:lnTo>
                          <a:pt x="62" y="34"/>
                        </a:lnTo>
                        <a:lnTo>
                          <a:pt x="64" y="40"/>
                        </a:lnTo>
                        <a:lnTo>
                          <a:pt x="70" y="50"/>
                        </a:lnTo>
                        <a:lnTo>
                          <a:pt x="80" y="56"/>
                        </a:lnTo>
                        <a:lnTo>
                          <a:pt x="86" y="58"/>
                        </a:lnTo>
                        <a:lnTo>
                          <a:pt x="92" y="58"/>
                        </a:lnTo>
                        <a:lnTo>
                          <a:pt x="92" y="58"/>
                        </a:lnTo>
                        <a:close/>
                        <a:moveTo>
                          <a:pt x="30" y="196"/>
                        </a:moveTo>
                        <a:lnTo>
                          <a:pt x="42" y="118"/>
                        </a:lnTo>
                        <a:lnTo>
                          <a:pt x="52" y="118"/>
                        </a:lnTo>
                        <a:lnTo>
                          <a:pt x="50" y="244"/>
                        </a:lnTo>
                        <a:lnTo>
                          <a:pt x="50" y="244"/>
                        </a:lnTo>
                        <a:lnTo>
                          <a:pt x="54" y="236"/>
                        </a:lnTo>
                        <a:lnTo>
                          <a:pt x="60" y="228"/>
                        </a:lnTo>
                        <a:lnTo>
                          <a:pt x="66" y="222"/>
                        </a:lnTo>
                        <a:lnTo>
                          <a:pt x="74" y="218"/>
                        </a:lnTo>
                        <a:lnTo>
                          <a:pt x="82" y="214"/>
                        </a:lnTo>
                        <a:lnTo>
                          <a:pt x="90" y="210"/>
                        </a:lnTo>
                        <a:lnTo>
                          <a:pt x="100" y="208"/>
                        </a:lnTo>
                        <a:lnTo>
                          <a:pt x="110" y="208"/>
                        </a:lnTo>
                        <a:lnTo>
                          <a:pt x="126" y="208"/>
                        </a:lnTo>
                        <a:lnTo>
                          <a:pt x="126" y="208"/>
                        </a:lnTo>
                        <a:lnTo>
                          <a:pt x="120" y="198"/>
                        </a:lnTo>
                        <a:lnTo>
                          <a:pt x="114" y="188"/>
                        </a:lnTo>
                        <a:lnTo>
                          <a:pt x="112" y="178"/>
                        </a:lnTo>
                        <a:lnTo>
                          <a:pt x="112" y="166"/>
                        </a:lnTo>
                        <a:lnTo>
                          <a:pt x="112" y="166"/>
                        </a:lnTo>
                        <a:lnTo>
                          <a:pt x="112" y="154"/>
                        </a:lnTo>
                        <a:lnTo>
                          <a:pt x="116" y="142"/>
                        </a:lnTo>
                        <a:lnTo>
                          <a:pt x="120" y="132"/>
                        </a:lnTo>
                        <a:lnTo>
                          <a:pt x="128" y="122"/>
                        </a:lnTo>
                        <a:lnTo>
                          <a:pt x="136" y="114"/>
                        </a:lnTo>
                        <a:lnTo>
                          <a:pt x="146" y="106"/>
                        </a:lnTo>
                        <a:lnTo>
                          <a:pt x="156" y="102"/>
                        </a:lnTo>
                        <a:lnTo>
                          <a:pt x="168" y="98"/>
                        </a:lnTo>
                        <a:lnTo>
                          <a:pt x="166" y="90"/>
                        </a:lnTo>
                        <a:lnTo>
                          <a:pt x="166" y="90"/>
                        </a:lnTo>
                        <a:lnTo>
                          <a:pt x="166" y="88"/>
                        </a:lnTo>
                        <a:lnTo>
                          <a:pt x="166" y="88"/>
                        </a:lnTo>
                        <a:lnTo>
                          <a:pt x="162" y="80"/>
                        </a:lnTo>
                        <a:lnTo>
                          <a:pt x="154" y="74"/>
                        </a:lnTo>
                        <a:lnTo>
                          <a:pt x="146" y="70"/>
                        </a:lnTo>
                        <a:lnTo>
                          <a:pt x="138" y="68"/>
                        </a:lnTo>
                        <a:lnTo>
                          <a:pt x="110" y="68"/>
                        </a:lnTo>
                        <a:lnTo>
                          <a:pt x="90" y="102"/>
                        </a:lnTo>
                        <a:lnTo>
                          <a:pt x="72" y="68"/>
                        </a:lnTo>
                        <a:lnTo>
                          <a:pt x="46" y="68"/>
                        </a:lnTo>
                        <a:lnTo>
                          <a:pt x="46" y="68"/>
                        </a:lnTo>
                        <a:lnTo>
                          <a:pt x="36" y="70"/>
                        </a:lnTo>
                        <a:lnTo>
                          <a:pt x="28" y="74"/>
                        </a:lnTo>
                        <a:lnTo>
                          <a:pt x="20" y="80"/>
                        </a:lnTo>
                        <a:lnTo>
                          <a:pt x="16" y="88"/>
                        </a:lnTo>
                        <a:lnTo>
                          <a:pt x="16" y="88"/>
                        </a:lnTo>
                        <a:lnTo>
                          <a:pt x="16" y="90"/>
                        </a:lnTo>
                        <a:lnTo>
                          <a:pt x="0" y="190"/>
                        </a:lnTo>
                        <a:lnTo>
                          <a:pt x="0" y="190"/>
                        </a:lnTo>
                        <a:lnTo>
                          <a:pt x="0" y="196"/>
                        </a:lnTo>
                        <a:lnTo>
                          <a:pt x="2" y="202"/>
                        </a:lnTo>
                        <a:lnTo>
                          <a:pt x="6" y="206"/>
                        </a:lnTo>
                        <a:lnTo>
                          <a:pt x="12" y="208"/>
                        </a:lnTo>
                        <a:lnTo>
                          <a:pt x="12" y="208"/>
                        </a:lnTo>
                        <a:lnTo>
                          <a:pt x="14" y="208"/>
                        </a:lnTo>
                        <a:lnTo>
                          <a:pt x="14" y="208"/>
                        </a:lnTo>
                        <a:lnTo>
                          <a:pt x="20" y="208"/>
                        </a:lnTo>
                        <a:lnTo>
                          <a:pt x="24" y="204"/>
                        </a:lnTo>
                        <a:lnTo>
                          <a:pt x="28" y="200"/>
                        </a:lnTo>
                        <a:lnTo>
                          <a:pt x="30" y="196"/>
                        </a:lnTo>
                        <a:lnTo>
                          <a:pt x="30" y="196"/>
                        </a:lnTo>
                        <a:close/>
                        <a:moveTo>
                          <a:pt x="180" y="118"/>
                        </a:moveTo>
                        <a:lnTo>
                          <a:pt x="180" y="118"/>
                        </a:lnTo>
                        <a:lnTo>
                          <a:pt x="170" y="118"/>
                        </a:lnTo>
                        <a:lnTo>
                          <a:pt x="162" y="120"/>
                        </a:lnTo>
                        <a:lnTo>
                          <a:pt x="152" y="126"/>
                        </a:lnTo>
                        <a:lnTo>
                          <a:pt x="146" y="132"/>
                        </a:lnTo>
                        <a:lnTo>
                          <a:pt x="140" y="138"/>
                        </a:lnTo>
                        <a:lnTo>
                          <a:pt x="136" y="146"/>
                        </a:lnTo>
                        <a:lnTo>
                          <a:pt x="132" y="156"/>
                        </a:lnTo>
                        <a:lnTo>
                          <a:pt x="132" y="166"/>
                        </a:lnTo>
                        <a:lnTo>
                          <a:pt x="132" y="166"/>
                        </a:lnTo>
                        <a:lnTo>
                          <a:pt x="132" y="176"/>
                        </a:lnTo>
                        <a:lnTo>
                          <a:pt x="136" y="184"/>
                        </a:lnTo>
                        <a:lnTo>
                          <a:pt x="140" y="194"/>
                        </a:lnTo>
                        <a:lnTo>
                          <a:pt x="146" y="200"/>
                        </a:lnTo>
                        <a:lnTo>
                          <a:pt x="152" y="206"/>
                        </a:lnTo>
                        <a:lnTo>
                          <a:pt x="162" y="210"/>
                        </a:lnTo>
                        <a:lnTo>
                          <a:pt x="170" y="214"/>
                        </a:lnTo>
                        <a:lnTo>
                          <a:pt x="180" y="214"/>
                        </a:lnTo>
                        <a:lnTo>
                          <a:pt x="180" y="214"/>
                        </a:lnTo>
                        <a:lnTo>
                          <a:pt x="190" y="214"/>
                        </a:lnTo>
                        <a:lnTo>
                          <a:pt x="200" y="210"/>
                        </a:lnTo>
                        <a:lnTo>
                          <a:pt x="208" y="206"/>
                        </a:lnTo>
                        <a:lnTo>
                          <a:pt x="214" y="200"/>
                        </a:lnTo>
                        <a:lnTo>
                          <a:pt x="220" y="194"/>
                        </a:lnTo>
                        <a:lnTo>
                          <a:pt x="224" y="184"/>
                        </a:lnTo>
                        <a:lnTo>
                          <a:pt x="228" y="176"/>
                        </a:lnTo>
                        <a:lnTo>
                          <a:pt x="228" y="166"/>
                        </a:lnTo>
                        <a:lnTo>
                          <a:pt x="228" y="166"/>
                        </a:lnTo>
                        <a:lnTo>
                          <a:pt x="228" y="156"/>
                        </a:lnTo>
                        <a:lnTo>
                          <a:pt x="224" y="146"/>
                        </a:lnTo>
                        <a:lnTo>
                          <a:pt x="220" y="138"/>
                        </a:lnTo>
                        <a:lnTo>
                          <a:pt x="214" y="132"/>
                        </a:lnTo>
                        <a:lnTo>
                          <a:pt x="208" y="126"/>
                        </a:lnTo>
                        <a:lnTo>
                          <a:pt x="200" y="120"/>
                        </a:lnTo>
                        <a:lnTo>
                          <a:pt x="190" y="118"/>
                        </a:lnTo>
                        <a:lnTo>
                          <a:pt x="180" y="118"/>
                        </a:lnTo>
                        <a:close/>
                        <a:moveTo>
                          <a:pt x="296" y="260"/>
                        </a:moveTo>
                        <a:lnTo>
                          <a:pt x="296" y="260"/>
                        </a:lnTo>
                        <a:lnTo>
                          <a:pt x="294" y="258"/>
                        </a:lnTo>
                        <a:lnTo>
                          <a:pt x="294" y="258"/>
                        </a:lnTo>
                        <a:lnTo>
                          <a:pt x="292" y="252"/>
                        </a:lnTo>
                        <a:lnTo>
                          <a:pt x="288" y="246"/>
                        </a:lnTo>
                        <a:lnTo>
                          <a:pt x="278" y="236"/>
                        </a:lnTo>
                        <a:lnTo>
                          <a:pt x="266" y="230"/>
                        </a:lnTo>
                        <a:lnTo>
                          <a:pt x="250" y="228"/>
                        </a:lnTo>
                        <a:lnTo>
                          <a:pt x="210" y="228"/>
                        </a:lnTo>
                        <a:lnTo>
                          <a:pt x="180" y="278"/>
                        </a:lnTo>
                        <a:lnTo>
                          <a:pt x="150" y="228"/>
                        </a:lnTo>
                        <a:lnTo>
                          <a:pt x="110" y="228"/>
                        </a:lnTo>
                        <a:lnTo>
                          <a:pt x="110" y="228"/>
                        </a:lnTo>
                        <a:lnTo>
                          <a:pt x="94" y="230"/>
                        </a:lnTo>
                        <a:lnTo>
                          <a:pt x="82" y="236"/>
                        </a:lnTo>
                        <a:lnTo>
                          <a:pt x="72" y="246"/>
                        </a:lnTo>
                        <a:lnTo>
                          <a:pt x="68" y="252"/>
                        </a:lnTo>
                        <a:lnTo>
                          <a:pt x="66" y="258"/>
                        </a:lnTo>
                        <a:lnTo>
                          <a:pt x="66" y="258"/>
                        </a:lnTo>
                        <a:lnTo>
                          <a:pt x="64" y="260"/>
                        </a:lnTo>
                        <a:lnTo>
                          <a:pt x="52" y="336"/>
                        </a:lnTo>
                        <a:lnTo>
                          <a:pt x="52" y="336"/>
                        </a:lnTo>
                        <a:lnTo>
                          <a:pt x="72" y="352"/>
                        </a:lnTo>
                        <a:lnTo>
                          <a:pt x="96" y="362"/>
                        </a:lnTo>
                        <a:lnTo>
                          <a:pt x="106" y="304"/>
                        </a:lnTo>
                        <a:lnTo>
                          <a:pt x="118" y="304"/>
                        </a:lnTo>
                        <a:lnTo>
                          <a:pt x="114" y="370"/>
                        </a:lnTo>
                        <a:lnTo>
                          <a:pt x="114" y="370"/>
                        </a:lnTo>
                        <a:lnTo>
                          <a:pt x="130" y="374"/>
                        </a:lnTo>
                        <a:lnTo>
                          <a:pt x="146" y="378"/>
                        </a:lnTo>
                        <a:lnTo>
                          <a:pt x="162" y="380"/>
                        </a:lnTo>
                        <a:lnTo>
                          <a:pt x="180" y="380"/>
                        </a:lnTo>
                        <a:lnTo>
                          <a:pt x="180" y="380"/>
                        </a:lnTo>
                        <a:lnTo>
                          <a:pt x="196" y="380"/>
                        </a:lnTo>
                        <a:lnTo>
                          <a:pt x="214" y="378"/>
                        </a:lnTo>
                        <a:lnTo>
                          <a:pt x="230" y="374"/>
                        </a:lnTo>
                        <a:lnTo>
                          <a:pt x="246" y="370"/>
                        </a:lnTo>
                        <a:lnTo>
                          <a:pt x="242" y="304"/>
                        </a:lnTo>
                        <a:lnTo>
                          <a:pt x="254" y="304"/>
                        </a:lnTo>
                        <a:lnTo>
                          <a:pt x="264" y="362"/>
                        </a:lnTo>
                        <a:lnTo>
                          <a:pt x="264" y="362"/>
                        </a:lnTo>
                        <a:lnTo>
                          <a:pt x="288" y="350"/>
                        </a:lnTo>
                        <a:lnTo>
                          <a:pt x="308" y="336"/>
                        </a:lnTo>
                        <a:lnTo>
                          <a:pt x="296" y="260"/>
                        </a:lnTo>
                        <a:close/>
                      </a:path>
                    </a:pathLst>
                  </a:custGeom>
                  <a:solidFill>
                    <a:srgbClr val="FFFFFF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/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>
                      <a:ln>
                        <a:noFill/>
                      </a:ln>
                      <a:solidFill>
                        <a:srgbClr val="000000"/>
                      </a:solidFill>
                      <a:effectLst/>
                      <a:uLnTx/>
                      <a:uFillTx/>
                    </a:endParaRPr>
                  </a:p>
                </p:txBody>
              </p:sp>
              <p:sp>
                <p:nvSpPr>
                  <p:cNvPr id="74" name="112 Elipse"/>
                  <p:cNvSpPr/>
                  <p:nvPr/>
                </p:nvSpPr>
                <p:spPr bwMode="ltGray">
                  <a:xfrm>
                    <a:off x="3459383" y="3665944"/>
                    <a:ext cx="506169" cy="494472"/>
                  </a:xfrm>
                  <a:prstGeom prst="ellipse">
                    <a:avLst/>
                  </a:prstGeom>
                  <a:solidFill>
                    <a:srgbClr val="002060"/>
                  </a:solidFill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 pitchFamily="18" charset="0"/>
                    </a:endParaRPr>
                  </a:p>
                </p:txBody>
              </p:sp>
              <p:sp>
                <p:nvSpPr>
                  <p:cNvPr id="75" name="113 CuadroTexto"/>
                  <p:cNvSpPr txBox="1"/>
                  <p:nvPr/>
                </p:nvSpPr>
                <p:spPr>
                  <a:xfrm>
                    <a:off x="3518293" y="3794231"/>
                    <a:ext cx="450373" cy="230259"/>
                  </a:xfrm>
                  <a:prstGeom prst="rect">
                    <a:avLst/>
                  </a:prstGeom>
                  <a:noFill/>
                </p:spPr>
                <p:txBody>
                  <a:bodyPr vert="horz" wrap="none" lIns="0" tIns="0" rIns="0" bIns="0" rtlCol="0">
                    <a:noAutofit/>
                  </a:bodyPr>
                  <a:lstStyle/>
                  <a:p>
                    <a:pPr marL="0" marR="0" lvl="0" indent="-27432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9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15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www</a:t>
                    </a:r>
                  </a:p>
                </p:txBody>
              </p:sp>
              <p:sp>
                <p:nvSpPr>
                  <p:cNvPr id="76" name="110 Elipse"/>
                  <p:cNvSpPr/>
                  <p:nvPr/>
                </p:nvSpPr>
                <p:spPr bwMode="ltGray">
                  <a:xfrm>
                    <a:off x="6362028" y="3534058"/>
                    <a:ext cx="506169" cy="494472"/>
                  </a:xfrm>
                  <a:prstGeom prst="ellipse">
                    <a:avLst/>
                  </a:prstGeom>
                  <a:solidFill>
                    <a:srgbClr val="002060"/>
                  </a:solidFill>
                  <a:ln w="3175" cap="flat" cmpd="sng" algn="ctr">
                    <a:solidFill>
                      <a:srgbClr val="44546A"/>
                    </a:solidFill>
                    <a:prstDash val="solid"/>
                  </a:ln>
                  <a:effectLst/>
                </p:spPr>
                <p:txBody>
                  <a:bodyPr rtlCol="0" anchor="ctr"/>
                  <a:lstStyle/>
                  <a:p>
                    <a:pPr marL="0" marR="0" lvl="0" indent="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s-ES" sz="500" b="0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FFFFFF"/>
                      </a:solidFill>
                      <a:effectLst/>
                      <a:uLnTx/>
                      <a:uFillTx/>
                      <a:latin typeface="Georgia" pitchFamily="18" charset="0"/>
                    </a:endParaRPr>
                  </a:p>
                </p:txBody>
              </p:sp>
              <p:sp>
                <p:nvSpPr>
                  <p:cNvPr id="77" name="103 CuadroTexto"/>
                  <p:cNvSpPr txBox="1"/>
                  <p:nvPr/>
                </p:nvSpPr>
                <p:spPr>
                  <a:xfrm>
                    <a:off x="2859832" y="3410527"/>
                    <a:ext cx="847320" cy="210932"/>
                  </a:xfrm>
                  <a:prstGeom prst="rect">
                    <a:avLst/>
                  </a:prstGeom>
                  <a:noFill/>
                </p:spPr>
                <p:txBody>
                  <a:bodyPr vert="horz" wrap="square" lIns="0" tIns="0" rIns="0" bIns="0" rtlCol="0">
                    <a:spAutoFit/>
                  </a:bodyPr>
                  <a:lstStyle/>
                  <a:p>
                    <a:pPr marL="0" marR="0" lvl="0" indent="-27432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9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200" b="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Web</a:t>
                    </a:r>
                  </a:p>
                </p:txBody>
              </p:sp>
              <p:sp>
                <p:nvSpPr>
                  <p:cNvPr id="78" name="103 CuadroTexto"/>
                  <p:cNvSpPr txBox="1"/>
                  <p:nvPr/>
                </p:nvSpPr>
                <p:spPr>
                  <a:xfrm>
                    <a:off x="4322131" y="2588561"/>
                    <a:ext cx="1668611" cy="421863"/>
                  </a:xfrm>
                  <a:prstGeom prst="rect">
                    <a:avLst/>
                  </a:prstGeom>
                  <a:noFill/>
                </p:spPr>
                <p:txBody>
                  <a:bodyPr vert="horz" wrap="square" lIns="0" tIns="0" rIns="0" bIns="0" rtlCol="0">
                    <a:spAutoFit/>
                  </a:bodyPr>
                  <a:lstStyle/>
                  <a:p>
                    <a:pPr marL="0" marR="0" lvl="0" indent="-27432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9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200" b="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Otros sistemas externos</a:t>
                    </a:r>
                  </a:p>
                </p:txBody>
              </p:sp>
              <p:sp>
                <p:nvSpPr>
                  <p:cNvPr id="79" name="103 CuadroTexto"/>
                  <p:cNvSpPr txBox="1"/>
                  <p:nvPr/>
                </p:nvSpPr>
                <p:spPr>
                  <a:xfrm>
                    <a:off x="6459217" y="2700807"/>
                    <a:ext cx="1539510" cy="843727"/>
                  </a:xfrm>
                  <a:prstGeom prst="rect">
                    <a:avLst/>
                  </a:prstGeom>
                  <a:noFill/>
                </p:spPr>
                <p:txBody>
                  <a:bodyPr vert="horz" wrap="square" lIns="0" tIns="0" rIns="0" bIns="0" rtlCol="0">
                    <a:spAutoFit/>
                  </a:bodyPr>
                  <a:lstStyle/>
                  <a:p>
                    <a:pPr marL="0" marR="0" lvl="0" indent="-274320" algn="ctr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90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r>
                      <a:rPr kumimoji="0" lang="es-ES" sz="1200" b="0" i="1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Georgia" pitchFamily="18" charset="0"/>
                      </a:rPr>
                      <a:t>Cliente correo electrónico y sistema de gestión de despachos</a:t>
                    </a:r>
                  </a:p>
                </p:txBody>
              </p:sp>
              <p:sp>
                <p:nvSpPr>
                  <p:cNvPr id="80" name="Freeform 4842"/>
                  <p:cNvSpPr>
                    <a:spLocks noEditPoints="1"/>
                  </p:cNvSpPr>
                  <p:nvPr/>
                </p:nvSpPr>
                <p:spPr bwMode="auto">
                  <a:xfrm>
                    <a:off x="7700568" y="6293908"/>
                    <a:ext cx="358480" cy="332042"/>
                  </a:xfrm>
                  <a:custGeom>
                    <a:avLst/>
                    <a:gdLst>
                      <a:gd name="T0" fmla="*/ 52 w 308"/>
                      <a:gd name="T1" fmla="*/ 4 h 292"/>
                      <a:gd name="T2" fmla="*/ 244 w 308"/>
                      <a:gd name="T3" fmla="*/ 0 h 292"/>
                      <a:gd name="T4" fmla="*/ 308 w 308"/>
                      <a:gd name="T5" fmla="*/ 68 h 292"/>
                      <a:gd name="T6" fmla="*/ 304 w 308"/>
                      <a:gd name="T7" fmla="*/ 266 h 292"/>
                      <a:gd name="T8" fmla="*/ 248 w 308"/>
                      <a:gd name="T9" fmla="*/ 292 h 292"/>
                      <a:gd name="T10" fmla="*/ 16 w 308"/>
                      <a:gd name="T11" fmla="*/ 292 h 292"/>
                      <a:gd name="T12" fmla="*/ 4 w 308"/>
                      <a:gd name="T13" fmla="*/ 266 h 292"/>
                      <a:gd name="T14" fmla="*/ 0 w 308"/>
                      <a:gd name="T15" fmla="*/ 68 h 292"/>
                      <a:gd name="T16" fmla="*/ 16 w 308"/>
                      <a:gd name="T17" fmla="*/ 52 h 292"/>
                      <a:gd name="T18" fmla="*/ 304 w 308"/>
                      <a:gd name="T19" fmla="*/ 56 h 292"/>
                      <a:gd name="T20" fmla="*/ 166 w 308"/>
                      <a:gd name="T21" fmla="*/ 162 h 292"/>
                      <a:gd name="T22" fmla="*/ 154 w 308"/>
                      <a:gd name="T23" fmla="*/ 124 h 292"/>
                      <a:gd name="T24" fmla="*/ 114 w 308"/>
                      <a:gd name="T25" fmla="*/ 98 h 292"/>
                      <a:gd name="T26" fmla="*/ 74 w 308"/>
                      <a:gd name="T27" fmla="*/ 100 h 292"/>
                      <a:gd name="T28" fmla="*/ 40 w 308"/>
                      <a:gd name="T29" fmla="*/ 136 h 292"/>
                      <a:gd name="T30" fmla="*/ 36 w 308"/>
                      <a:gd name="T31" fmla="*/ 174 h 292"/>
                      <a:gd name="T32" fmla="*/ 64 w 308"/>
                      <a:gd name="T33" fmla="*/ 216 h 292"/>
                      <a:gd name="T34" fmla="*/ 100 w 308"/>
                      <a:gd name="T35" fmla="*/ 228 h 292"/>
                      <a:gd name="T36" fmla="*/ 146 w 308"/>
                      <a:gd name="T37" fmla="*/ 208 h 292"/>
                      <a:gd name="T38" fmla="*/ 166 w 308"/>
                      <a:gd name="T39" fmla="*/ 162 h 292"/>
                      <a:gd name="T40" fmla="*/ 268 w 308"/>
                      <a:gd name="T41" fmla="*/ 110 h 292"/>
                      <a:gd name="T42" fmla="*/ 244 w 308"/>
                      <a:gd name="T43" fmla="*/ 96 h 292"/>
                      <a:gd name="T44" fmla="*/ 218 w 308"/>
                      <a:gd name="T45" fmla="*/ 120 h 292"/>
                      <a:gd name="T46" fmla="*/ 226 w 308"/>
                      <a:gd name="T47" fmla="*/ 140 h 292"/>
                      <a:gd name="T48" fmla="*/ 232 w 308"/>
                      <a:gd name="T49" fmla="*/ 222 h 292"/>
                      <a:gd name="T50" fmla="*/ 244 w 308"/>
                      <a:gd name="T51" fmla="*/ 230 h 292"/>
                      <a:gd name="T52" fmla="*/ 256 w 308"/>
                      <a:gd name="T53" fmla="*/ 218 h 292"/>
                      <a:gd name="T54" fmla="*/ 266 w 308"/>
                      <a:gd name="T55" fmla="*/ 134 h 292"/>
                      <a:gd name="T56" fmla="*/ 142 w 308"/>
                      <a:gd name="T57" fmla="*/ 168 h 292"/>
                      <a:gd name="T58" fmla="*/ 140 w 308"/>
                      <a:gd name="T59" fmla="*/ 192 h 292"/>
                      <a:gd name="T60" fmla="*/ 124 w 308"/>
                      <a:gd name="T61" fmla="*/ 186 h 292"/>
                      <a:gd name="T62" fmla="*/ 130 w 308"/>
                      <a:gd name="T63" fmla="*/ 202 h 292"/>
                      <a:gd name="T64" fmla="*/ 108 w 308"/>
                      <a:gd name="T65" fmla="*/ 204 h 292"/>
                      <a:gd name="T66" fmla="*/ 100 w 308"/>
                      <a:gd name="T67" fmla="*/ 196 h 292"/>
                      <a:gd name="T68" fmla="*/ 92 w 308"/>
                      <a:gd name="T69" fmla="*/ 212 h 292"/>
                      <a:gd name="T70" fmla="*/ 76 w 308"/>
                      <a:gd name="T71" fmla="*/ 196 h 292"/>
                      <a:gd name="T72" fmla="*/ 70 w 308"/>
                      <a:gd name="T73" fmla="*/ 184 h 292"/>
                      <a:gd name="T74" fmla="*/ 54 w 308"/>
                      <a:gd name="T75" fmla="*/ 180 h 292"/>
                      <a:gd name="T76" fmla="*/ 64 w 308"/>
                      <a:gd name="T77" fmla="*/ 166 h 292"/>
                      <a:gd name="T78" fmla="*/ 58 w 308"/>
                      <a:gd name="T79" fmla="*/ 154 h 292"/>
                      <a:gd name="T80" fmla="*/ 60 w 308"/>
                      <a:gd name="T81" fmla="*/ 132 h 292"/>
                      <a:gd name="T82" fmla="*/ 70 w 308"/>
                      <a:gd name="T83" fmla="*/ 140 h 292"/>
                      <a:gd name="T84" fmla="*/ 76 w 308"/>
                      <a:gd name="T85" fmla="*/ 126 h 292"/>
                      <a:gd name="T86" fmla="*/ 92 w 308"/>
                      <a:gd name="T87" fmla="*/ 112 h 292"/>
                      <a:gd name="T88" fmla="*/ 100 w 308"/>
                      <a:gd name="T89" fmla="*/ 128 h 292"/>
                      <a:gd name="T90" fmla="*/ 108 w 308"/>
                      <a:gd name="T91" fmla="*/ 112 h 292"/>
                      <a:gd name="T92" fmla="*/ 124 w 308"/>
                      <a:gd name="T93" fmla="*/ 126 h 292"/>
                      <a:gd name="T94" fmla="*/ 124 w 308"/>
                      <a:gd name="T95" fmla="*/ 138 h 292"/>
                      <a:gd name="T96" fmla="*/ 140 w 308"/>
                      <a:gd name="T97" fmla="*/ 130 h 292"/>
                      <a:gd name="T98" fmla="*/ 142 w 308"/>
                      <a:gd name="T99" fmla="*/ 154 h 292"/>
                      <a:gd name="T100" fmla="*/ 134 w 308"/>
                      <a:gd name="T101" fmla="*/ 162 h 292"/>
                      <a:gd name="T102" fmla="*/ 120 w 308"/>
                      <a:gd name="T103" fmla="*/ 162 h 292"/>
                      <a:gd name="T104" fmla="*/ 108 w 308"/>
                      <a:gd name="T105" fmla="*/ 142 h 292"/>
                      <a:gd name="T106" fmla="*/ 86 w 308"/>
                      <a:gd name="T107" fmla="*/ 146 h 292"/>
                      <a:gd name="T108" fmla="*/ 82 w 308"/>
                      <a:gd name="T109" fmla="*/ 170 h 292"/>
                      <a:gd name="T110" fmla="*/ 100 w 308"/>
                      <a:gd name="T111" fmla="*/ 182 h 292"/>
                      <a:gd name="T112" fmla="*/ 120 w 308"/>
                      <a:gd name="T113" fmla="*/ 162 h 29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308" h="292">
                        <a:moveTo>
                          <a:pt x="290" y="32"/>
                        </a:moveTo>
                        <a:lnTo>
                          <a:pt x="18" y="32"/>
                        </a:lnTo>
                        <a:lnTo>
                          <a:pt x="52" y="4"/>
                        </a:lnTo>
                        <a:lnTo>
                          <a:pt x="52" y="4"/>
                        </a:lnTo>
                        <a:lnTo>
                          <a:pt x="58" y="0"/>
                        </a:lnTo>
                        <a:lnTo>
                          <a:pt x="64" y="0"/>
                        </a:lnTo>
                        <a:lnTo>
                          <a:pt x="244" y="0"/>
                        </a:lnTo>
                        <a:lnTo>
                          <a:pt x="244" y="0"/>
                        </a:lnTo>
                        <a:lnTo>
                          <a:pt x="250" y="0"/>
                        </a:lnTo>
                        <a:lnTo>
                          <a:pt x="256" y="4"/>
                        </a:lnTo>
                        <a:lnTo>
                          <a:pt x="290" y="32"/>
                        </a:lnTo>
                        <a:close/>
                        <a:moveTo>
                          <a:pt x="308" y="68"/>
                        </a:moveTo>
                        <a:lnTo>
                          <a:pt x="308" y="256"/>
                        </a:lnTo>
                        <a:lnTo>
                          <a:pt x="308" y="256"/>
                        </a:lnTo>
                        <a:lnTo>
                          <a:pt x="308" y="262"/>
                        </a:lnTo>
                        <a:lnTo>
                          <a:pt x="304" y="266"/>
                        </a:lnTo>
                        <a:lnTo>
                          <a:pt x="298" y="270"/>
                        </a:lnTo>
                        <a:lnTo>
                          <a:pt x="292" y="272"/>
                        </a:lnTo>
                        <a:lnTo>
                          <a:pt x="292" y="292"/>
                        </a:lnTo>
                        <a:lnTo>
                          <a:pt x="248" y="292"/>
                        </a:lnTo>
                        <a:lnTo>
                          <a:pt x="248" y="272"/>
                        </a:lnTo>
                        <a:lnTo>
                          <a:pt x="60" y="272"/>
                        </a:lnTo>
                        <a:lnTo>
                          <a:pt x="60" y="292"/>
                        </a:lnTo>
                        <a:lnTo>
                          <a:pt x="16" y="292"/>
                        </a:lnTo>
                        <a:lnTo>
                          <a:pt x="16" y="272"/>
                        </a:lnTo>
                        <a:lnTo>
                          <a:pt x="16" y="272"/>
                        </a:lnTo>
                        <a:lnTo>
                          <a:pt x="10" y="270"/>
                        </a:lnTo>
                        <a:lnTo>
                          <a:pt x="4" y="266"/>
                        </a:lnTo>
                        <a:lnTo>
                          <a:pt x="0" y="262"/>
                        </a:lnTo>
                        <a:lnTo>
                          <a:pt x="0" y="256"/>
                        </a:lnTo>
                        <a:lnTo>
                          <a:pt x="0" y="68"/>
                        </a:lnTo>
                        <a:lnTo>
                          <a:pt x="0" y="68"/>
                        </a:lnTo>
                        <a:lnTo>
                          <a:pt x="0" y="62"/>
                        </a:lnTo>
                        <a:lnTo>
                          <a:pt x="4" y="56"/>
                        </a:lnTo>
                        <a:lnTo>
                          <a:pt x="10" y="52"/>
                        </a:lnTo>
                        <a:lnTo>
                          <a:pt x="16" y="52"/>
                        </a:lnTo>
                        <a:lnTo>
                          <a:pt x="292" y="52"/>
                        </a:lnTo>
                        <a:lnTo>
                          <a:pt x="292" y="52"/>
                        </a:lnTo>
                        <a:lnTo>
                          <a:pt x="298" y="52"/>
                        </a:lnTo>
                        <a:lnTo>
                          <a:pt x="304" y="56"/>
                        </a:lnTo>
                        <a:lnTo>
                          <a:pt x="308" y="62"/>
                        </a:lnTo>
                        <a:lnTo>
                          <a:pt x="308" y="68"/>
                        </a:lnTo>
                        <a:lnTo>
                          <a:pt x="308" y="68"/>
                        </a:lnTo>
                        <a:close/>
                        <a:moveTo>
                          <a:pt x="166" y="162"/>
                        </a:moveTo>
                        <a:lnTo>
                          <a:pt x="166" y="162"/>
                        </a:lnTo>
                        <a:lnTo>
                          <a:pt x="164" y="148"/>
                        </a:lnTo>
                        <a:lnTo>
                          <a:pt x="160" y="136"/>
                        </a:lnTo>
                        <a:lnTo>
                          <a:pt x="154" y="124"/>
                        </a:lnTo>
                        <a:lnTo>
                          <a:pt x="146" y="114"/>
                        </a:lnTo>
                        <a:lnTo>
                          <a:pt x="136" y="106"/>
                        </a:lnTo>
                        <a:lnTo>
                          <a:pt x="126" y="100"/>
                        </a:lnTo>
                        <a:lnTo>
                          <a:pt x="114" y="98"/>
                        </a:lnTo>
                        <a:lnTo>
                          <a:pt x="100" y="96"/>
                        </a:lnTo>
                        <a:lnTo>
                          <a:pt x="100" y="96"/>
                        </a:lnTo>
                        <a:lnTo>
                          <a:pt x="86" y="98"/>
                        </a:lnTo>
                        <a:lnTo>
                          <a:pt x="74" y="100"/>
                        </a:lnTo>
                        <a:lnTo>
                          <a:pt x="64" y="106"/>
                        </a:lnTo>
                        <a:lnTo>
                          <a:pt x="54" y="114"/>
                        </a:lnTo>
                        <a:lnTo>
                          <a:pt x="46" y="124"/>
                        </a:lnTo>
                        <a:lnTo>
                          <a:pt x="40" y="136"/>
                        </a:lnTo>
                        <a:lnTo>
                          <a:pt x="36" y="148"/>
                        </a:lnTo>
                        <a:lnTo>
                          <a:pt x="34" y="162"/>
                        </a:lnTo>
                        <a:lnTo>
                          <a:pt x="34" y="162"/>
                        </a:lnTo>
                        <a:lnTo>
                          <a:pt x="36" y="174"/>
                        </a:lnTo>
                        <a:lnTo>
                          <a:pt x="40" y="186"/>
                        </a:lnTo>
                        <a:lnTo>
                          <a:pt x="46" y="198"/>
                        </a:lnTo>
                        <a:lnTo>
                          <a:pt x="54" y="208"/>
                        </a:lnTo>
                        <a:lnTo>
                          <a:pt x="64" y="216"/>
                        </a:lnTo>
                        <a:lnTo>
                          <a:pt x="74" y="222"/>
                        </a:lnTo>
                        <a:lnTo>
                          <a:pt x="86" y="226"/>
                        </a:lnTo>
                        <a:lnTo>
                          <a:pt x="100" y="228"/>
                        </a:lnTo>
                        <a:lnTo>
                          <a:pt x="100" y="228"/>
                        </a:lnTo>
                        <a:lnTo>
                          <a:pt x="114" y="226"/>
                        </a:lnTo>
                        <a:lnTo>
                          <a:pt x="126" y="222"/>
                        </a:lnTo>
                        <a:lnTo>
                          <a:pt x="136" y="216"/>
                        </a:lnTo>
                        <a:lnTo>
                          <a:pt x="146" y="208"/>
                        </a:lnTo>
                        <a:lnTo>
                          <a:pt x="154" y="198"/>
                        </a:lnTo>
                        <a:lnTo>
                          <a:pt x="160" y="186"/>
                        </a:lnTo>
                        <a:lnTo>
                          <a:pt x="164" y="174"/>
                        </a:lnTo>
                        <a:lnTo>
                          <a:pt x="166" y="162"/>
                        </a:lnTo>
                        <a:lnTo>
                          <a:pt x="166" y="162"/>
                        </a:lnTo>
                        <a:close/>
                        <a:moveTo>
                          <a:pt x="270" y="120"/>
                        </a:moveTo>
                        <a:lnTo>
                          <a:pt x="270" y="120"/>
                        </a:lnTo>
                        <a:lnTo>
                          <a:pt x="268" y="110"/>
                        </a:lnTo>
                        <a:lnTo>
                          <a:pt x="262" y="102"/>
                        </a:lnTo>
                        <a:lnTo>
                          <a:pt x="254" y="98"/>
                        </a:lnTo>
                        <a:lnTo>
                          <a:pt x="244" y="96"/>
                        </a:lnTo>
                        <a:lnTo>
                          <a:pt x="244" y="96"/>
                        </a:lnTo>
                        <a:lnTo>
                          <a:pt x="234" y="98"/>
                        </a:lnTo>
                        <a:lnTo>
                          <a:pt x="226" y="102"/>
                        </a:lnTo>
                        <a:lnTo>
                          <a:pt x="220" y="110"/>
                        </a:lnTo>
                        <a:lnTo>
                          <a:pt x="218" y="120"/>
                        </a:lnTo>
                        <a:lnTo>
                          <a:pt x="218" y="120"/>
                        </a:lnTo>
                        <a:lnTo>
                          <a:pt x="220" y="128"/>
                        </a:lnTo>
                        <a:lnTo>
                          <a:pt x="222" y="134"/>
                        </a:lnTo>
                        <a:lnTo>
                          <a:pt x="226" y="140"/>
                        </a:lnTo>
                        <a:lnTo>
                          <a:pt x="232" y="144"/>
                        </a:lnTo>
                        <a:lnTo>
                          <a:pt x="232" y="218"/>
                        </a:lnTo>
                        <a:lnTo>
                          <a:pt x="232" y="218"/>
                        </a:lnTo>
                        <a:lnTo>
                          <a:pt x="232" y="222"/>
                        </a:lnTo>
                        <a:lnTo>
                          <a:pt x="236" y="226"/>
                        </a:lnTo>
                        <a:lnTo>
                          <a:pt x="240" y="228"/>
                        </a:lnTo>
                        <a:lnTo>
                          <a:pt x="244" y="230"/>
                        </a:lnTo>
                        <a:lnTo>
                          <a:pt x="244" y="230"/>
                        </a:lnTo>
                        <a:lnTo>
                          <a:pt x="248" y="228"/>
                        </a:lnTo>
                        <a:lnTo>
                          <a:pt x="252" y="226"/>
                        </a:lnTo>
                        <a:lnTo>
                          <a:pt x="256" y="222"/>
                        </a:lnTo>
                        <a:lnTo>
                          <a:pt x="256" y="218"/>
                        </a:lnTo>
                        <a:lnTo>
                          <a:pt x="256" y="144"/>
                        </a:lnTo>
                        <a:lnTo>
                          <a:pt x="256" y="144"/>
                        </a:lnTo>
                        <a:lnTo>
                          <a:pt x="262" y="140"/>
                        </a:lnTo>
                        <a:lnTo>
                          <a:pt x="266" y="134"/>
                        </a:lnTo>
                        <a:lnTo>
                          <a:pt x="268" y="128"/>
                        </a:lnTo>
                        <a:lnTo>
                          <a:pt x="270" y="120"/>
                        </a:lnTo>
                        <a:lnTo>
                          <a:pt x="270" y="120"/>
                        </a:lnTo>
                        <a:close/>
                        <a:moveTo>
                          <a:pt x="142" y="168"/>
                        </a:moveTo>
                        <a:lnTo>
                          <a:pt x="150" y="168"/>
                        </a:lnTo>
                        <a:lnTo>
                          <a:pt x="150" y="168"/>
                        </a:lnTo>
                        <a:lnTo>
                          <a:pt x="146" y="180"/>
                        </a:lnTo>
                        <a:lnTo>
                          <a:pt x="140" y="192"/>
                        </a:lnTo>
                        <a:lnTo>
                          <a:pt x="134" y="186"/>
                        </a:lnTo>
                        <a:lnTo>
                          <a:pt x="134" y="186"/>
                        </a:lnTo>
                        <a:lnTo>
                          <a:pt x="130" y="184"/>
                        </a:lnTo>
                        <a:lnTo>
                          <a:pt x="124" y="186"/>
                        </a:lnTo>
                        <a:lnTo>
                          <a:pt x="124" y="186"/>
                        </a:lnTo>
                        <a:lnTo>
                          <a:pt x="122" y="190"/>
                        </a:lnTo>
                        <a:lnTo>
                          <a:pt x="124" y="196"/>
                        </a:lnTo>
                        <a:lnTo>
                          <a:pt x="130" y="202"/>
                        </a:lnTo>
                        <a:lnTo>
                          <a:pt x="130" y="202"/>
                        </a:lnTo>
                        <a:lnTo>
                          <a:pt x="120" y="208"/>
                        </a:lnTo>
                        <a:lnTo>
                          <a:pt x="108" y="212"/>
                        </a:lnTo>
                        <a:lnTo>
                          <a:pt x="108" y="204"/>
                        </a:lnTo>
                        <a:lnTo>
                          <a:pt x="108" y="204"/>
                        </a:lnTo>
                        <a:lnTo>
                          <a:pt x="106" y="198"/>
                        </a:lnTo>
                        <a:lnTo>
                          <a:pt x="100" y="196"/>
                        </a:lnTo>
                        <a:lnTo>
                          <a:pt x="100" y="196"/>
                        </a:lnTo>
                        <a:lnTo>
                          <a:pt x="94" y="198"/>
                        </a:lnTo>
                        <a:lnTo>
                          <a:pt x="92" y="204"/>
                        </a:lnTo>
                        <a:lnTo>
                          <a:pt x="92" y="212"/>
                        </a:lnTo>
                        <a:lnTo>
                          <a:pt x="92" y="212"/>
                        </a:lnTo>
                        <a:lnTo>
                          <a:pt x="80" y="208"/>
                        </a:lnTo>
                        <a:lnTo>
                          <a:pt x="70" y="202"/>
                        </a:lnTo>
                        <a:lnTo>
                          <a:pt x="76" y="196"/>
                        </a:lnTo>
                        <a:lnTo>
                          <a:pt x="76" y="196"/>
                        </a:lnTo>
                        <a:lnTo>
                          <a:pt x="78" y="190"/>
                        </a:lnTo>
                        <a:lnTo>
                          <a:pt x="76" y="186"/>
                        </a:lnTo>
                        <a:lnTo>
                          <a:pt x="76" y="186"/>
                        </a:lnTo>
                        <a:lnTo>
                          <a:pt x="70" y="184"/>
                        </a:lnTo>
                        <a:lnTo>
                          <a:pt x="66" y="186"/>
                        </a:lnTo>
                        <a:lnTo>
                          <a:pt x="60" y="192"/>
                        </a:lnTo>
                        <a:lnTo>
                          <a:pt x="60" y="192"/>
                        </a:lnTo>
                        <a:lnTo>
                          <a:pt x="54" y="180"/>
                        </a:lnTo>
                        <a:lnTo>
                          <a:pt x="50" y="168"/>
                        </a:lnTo>
                        <a:lnTo>
                          <a:pt x="58" y="168"/>
                        </a:lnTo>
                        <a:lnTo>
                          <a:pt x="58" y="168"/>
                        </a:lnTo>
                        <a:lnTo>
                          <a:pt x="64" y="166"/>
                        </a:lnTo>
                        <a:lnTo>
                          <a:pt x="66" y="162"/>
                        </a:lnTo>
                        <a:lnTo>
                          <a:pt x="66" y="162"/>
                        </a:lnTo>
                        <a:lnTo>
                          <a:pt x="64" y="156"/>
                        </a:lnTo>
                        <a:lnTo>
                          <a:pt x="58" y="154"/>
                        </a:lnTo>
                        <a:lnTo>
                          <a:pt x="50" y="154"/>
                        </a:lnTo>
                        <a:lnTo>
                          <a:pt x="50" y="154"/>
                        </a:lnTo>
                        <a:lnTo>
                          <a:pt x="54" y="142"/>
                        </a:lnTo>
                        <a:lnTo>
                          <a:pt x="60" y="132"/>
                        </a:lnTo>
                        <a:lnTo>
                          <a:pt x="66" y="138"/>
                        </a:lnTo>
                        <a:lnTo>
                          <a:pt x="66" y="138"/>
                        </a:lnTo>
                        <a:lnTo>
                          <a:pt x="70" y="140"/>
                        </a:lnTo>
                        <a:lnTo>
                          <a:pt x="70" y="140"/>
                        </a:lnTo>
                        <a:lnTo>
                          <a:pt x="76" y="138"/>
                        </a:lnTo>
                        <a:lnTo>
                          <a:pt x="76" y="138"/>
                        </a:lnTo>
                        <a:lnTo>
                          <a:pt x="78" y="132"/>
                        </a:lnTo>
                        <a:lnTo>
                          <a:pt x="76" y="126"/>
                        </a:lnTo>
                        <a:lnTo>
                          <a:pt x="70" y="120"/>
                        </a:lnTo>
                        <a:lnTo>
                          <a:pt x="70" y="120"/>
                        </a:lnTo>
                        <a:lnTo>
                          <a:pt x="80" y="114"/>
                        </a:lnTo>
                        <a:lnTo>
                          <a:pt x="92" y="112"/>
                        </a:lnTo>
                        <a:lnTo>
                          <a:pt x="92" y="120"/>
                        </a:lnTo>
                        <a:lnTo>
                          <a:pt x="92" y="120"/>
                        </a:lnTo>
                        <a:lnTo>
                          <a:pt x="94" y="124"/>
                        </a:lnTo>
                        <a:lnTo>
                          <a:pt x="100" y="128"/>
                        </a:lnTo>
                        <a:lnTo>
                          <a:pt x="100" y="128"/>
                        </a:lnTo>
                        <a:lnTo>
                          <a:pt x="106" y="124"/>
                        </a:lnTo>
                        <a:lnTo>
                          <a:pt x="108" y="120"/>
                        </a:lnTo>
                        <a:lnTo>
                          <a:pt x="108" y="112"/>
                        </a:lnTo>
                        <a:lnTo>
                          <a:pt x="108" y="112"/>
                        </a:lnTo>
                        <a:lnTo>
                          <a:pt x="120" y="114"/>
                        </a:lnTo>
                        <a:lnTo>
                          <a:pt x="130" y="120"/>
                        </a:lnTo>
                        <a:lnTo>
                          <a:pt x="124" y="126"/>
                        </a:lnTo>
                        <a:lnTo>
                          <a:pt x="124" y="126"/>
                        </a:lnTo>
                        <a:lnTo>
                          <a:pt x="122" y="132"/>
                        </a:lnTo>
                        <a:lnTo>
                          <a:pt x="124" y="138"/>
                        </a:lnTo>
                        <a:lnTo>
                          <a:pt x="124" y="138"/>
                        </a:lnTo>
                        <a:lnTo>
                          <a:pt x="130" y="140"/>
                        </a:lnTo>
                        <a:lnTo>
                          <a:pt x="130" y="140"/>
                        </a:lnTo>
                        <a:lnTo>
                          <a:pt x="134" y="138"/>
                        </a:lnTo>
                        <a:lnTo>
                          <a:pt x="140" y="130"/>
                        </a:lnTo>
                        <a:lnTo>
                          <a:pt x="140" y="130"/>
                        </a:lnTo>
                        <a:lnTo>
                          <a:pt x="146" y="142"/>
                        </a:lnTo>
                        <a:lnTo>
                          <a:pt x="150" y="154"/>
                        </a:lnTo>
                        <a:lnTo>
                          <a:pt x="142" y="154"/>
                        </a:lnTo>
                        <a:lnTo>
                          <a:pt x="142" y="154"/>
                        </a:lnTo>
                        <a:lnTo>
                          <a:pt x="136" y="156"/>
                        </a:lnTo>
                        <a:lnTo>
                          <a:pt x="134" y="162"/>
                        </a:lnTo>
                        <a:lnTo>
                          <a:pt x="134" y="162"/>
                        </a:lnTo>
                        <a:lnTo>
                          <a:pt x="136" y="166"/>
                        </a:lnTo>
                        <a:lnTo>
                          <a:pt x="142" y="168"/>
                        </a:lnTo>
                        <a:lnTo>
                          <a:pt x="142" y="168"/>
                        </a:lnTo>
                        <a:close/>
                        <a:moveTo>
                          <a:pt x="120" y="162"/>
                        </a:moveTo>
                        <a:lnTo>
                          <a:pt x="120" y="162"/>
                        </a:lnTo>
                        <a:lnTo>
                          <a:pt x="118" y="154"/>
                        </a:lnTo>
                        <a:lnTo>
                          <a:pt x="114" y="146"/>
                        </a:lnTo>
                        <a:lnTo>
                          <a:pt x="108" y="142"/>
                        </a:lnTo>
                        <a:lnTo>
                          <a:pt x="100" y="140"/>
                        </a:lnTo>
                        <a:lnTo>
                          <a:pt x="100" y="140"/>
                        </a:lnTo>
                        <a:lnTo>
                          <a:pt x="92" y="142"/>
                        </a:lnTo>
                        <a:lnTo>
                          <a:pt x="86" y="146"/>
                        </a:lnTo>
                        <a:lnTo>
                          <a:pt x="82" y="154"/>
                        </a:lnTo>
                        <a:lnTo>
                          <a:pt x="80" y="162"/>
                        </a:lnTo>
                        <a:lnTo>
                          <a:pt x="80" y="162"/>
                        </a:lnTo>
                        <a:lnTo>
                          <a:pt x="82" y="170"/>
                        </a:lnTo>
                        <a:lnTo>
                          <a:pt x="86" y="176"/>
                        </a:lnTo>
                        <a:lnTo>
                          <a:pt x="92" y="180"/>
                        </a:lnTo>
                        <a:lnTo>
                          <a:pt x="100" y="182"/>
                        </a:lnTo>
                        <a:lnTo>
                          <a:pt x="100" y="182"/>
                        </a:lnTo>
                        <a:lnTo>
                          <a:pt x="108" y="180"/>
                        </a:lnTo>
                        <a:lnTo>
                          <a:pt x="114" y="176"/>
                        </a:lnTo>
                        <a:lnTo>
                          <a:pt x="118" y="170"/>
                        </a:lnTo>
                        <a:lnTo>
                          <a:pt x="120" y="162"/>
                        </a:lnTo>
                        <a:lnTo>
                          <a:pt x="120" y="162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</a:endParaRPr>
                  </a:p>
                </p:txBody>
              </p:sp>
              <p:sp>
                <p:nvSpPr>
                  <p:cNvPr id="81" name="Freeform 5001"/>
                  <p:cNvSpPr>
                    <a:spLocks noEditPoints="1"/>
                  </p:cNvSpPr>
                  <p:nvPr/>
                </p:nvSpPr>
                <p:spPr bwMode="auto">
                  <a:xfrm>
                    <a:off x="5813306" y="5644769"/>
                    <a:ext cx="273674" cy="343058"/>
                  </a:xfrm>
                  <a:custGeom>
                    <a:avLst/>
                    <a:gdLst>
                      <a:gd name="T0" fmla="*/ 232 w 284"/>
                      <a:gd name="T1" fmla="*/ 90 h 356"/>
                      <a:gd name="T2" fmla="*/ 224 w 284"/>
                      <a:gd name="T3" fmla="*/ 54 h 356"/>
                      <a:gd name="T4" fmla="*/ 192 w 284"/>
                      <a:gd name="T5" fmla="*/ 14 h 356"/>
                      <a:gd name="T6" fmla="*/ 142 w 284"/>
                      <a:gd name="T7" fmla="*/ 0 h 356"/>
                      <a:gd name="T8" fmla="*/ 108 w 284"/>
                      <a:gd name="T9" fmla="*/ 6 h 356"/>
                      <a:gd name="T10" fmla="*/ 68 w 284"/>
                      <a:gd name="T11" fmla="*/ 38 h 356"/>
                      <a:gd name="T12" fmla="*/ 52 w 284"/>
                      <a:gd name="T13" fmla="*/ 90 h 356"/>
                      <a:gd name="T14" fmla="*/ 20 w 284"/>
                      <a:gd name="T15" fmla="*/ 142 h 356"/>
                      <a:gd name="T16" fmla="*/ 0 w 284"/>
                      <a:gd name="T17" fmla="*/ 154 h 356"/>
                      <a:gd name="T18" fmla="*/ 0 w 284"/>
                      <a:gd name="T19" fmla="*/ 302 h 356"/>
                      <a:gd name="T20" fmla="*/ 0 w 284"/>
                      <a:gd name="T21" fmla="*/ 306 h 356"/>
                      <a:gd name="T22" fmla="*/ 0 w 284"/>
                      <a:gd name="T23" fmla="*/ 306 h 356"/>
                      <a:gd name="T24" fmla="*/ 2 w 284"/>
                      <a:gd name="T25" fmla="*/ 312 h 356"/>
                      <a:gd name="T26" fmla="*/ 2 w 284"/>
                      <a:gd name="T27" fmla="*/ 314 h 356"/>
                      <a:gd name="T28" fmla="*/ 4 w 284"/>
                      <a:gd name="T29" fmla="*/ 316 h 356"/>
                      <a:gd name="T30" fmla="*/ 6 w 284"/>
                      <a:gd name="T31" fmla="*/ 318 h 356"/>
                      <a:gd name="T32" fmla="*/ 8 w 284"/>
                      <a:gd name="T33" fmla="*/ 320 h 356"/>
                      <a:gd name="T34" fmla="*/ 10 w 284"/>
                      <a:gd name="T35" fmla="*/ 320 h 356"/>
                      <a:gd name="T36" fmla="*/ 108 w 284"/>
                      <a:gd name="T37" fmla="*/ 354 h 356"/>
                      <a:gd name="T38" fmla="*/ 176 w 284"/>
                      <a:gd name="T39" fmla="*/ 354 h 356"/>
                      <a:gd name="T40" fmla="*/ 274 w 284"/>
                      <a:gd name="T41" fmla="*/ 320 h 356"/>
                      <a:gd name="T42" fmla="*/ 276 w 284"/>
                      <a:gd name="T43" fmla="*/ 320 h 356"/>
                      <a:gd name="T44" fmla="*/ 278 w 284"/>
                      <a:gd name="T45" fmla="*/ 316 h 356"/>
                      <a:gd name="T46" fmla="*/ 278 w 284"/>
                      <a:gd name="T47" fmla="*/ 316 h 356"/>
                      <a:gd name="T48" fmla="*/ 284 w 284"/>
                      <a:gd name="T49" fmla="*/ 162 h 356"/>
                      <a:gd name="T50" fmla="*/ 278 w 284"/>
                      <a:gd name="T51" fmla="*/ 146 h 356"/>
                      <a:gd name="T52" fmla="*/ 264 w 284"/>
                      <a:gd name="T53" fmla="*/ 142 h 356"/>
                      <a:gd name="T54" fmla="*/ 132 w 284"/>
                      <a:gd name="T55" fmla="*/ 294 h 356"/>
                      <a:gd name="T56" fmla="*/ 126 w 284"/>
                      <a:gd name="T57" fmla="*/ 248 h 356"/>
                      <a:gd name="T58" fmla="*/ 114 w 284"/>
                      <a:gd name="T59" fmla="*/ 226 h 356"/>
                      <a:gd name="T60" fmla="*/ 122 w 284"/>
                      <a:gd name="T61" fmla="*/ 208 h 356"/>
                      <a:gd name="T62" fmla="*/ 142 w 284"/>
                      <a:gd name="T63" fmla="*/ 200 h 356"/>
                      <a:gd name="T64" fmla="*/ 166 w 284"/>
                      <a:gd name="T65" fmla="*/ 216 h 356"/>
                      <a:gd name="T66" fmla="*/ 168 w 284"/>
                      <a:gd name="T67" fmla="*/ 234 h 356"/>
                      <a:gd name="T68" fmla="*/ 152 w 284"/>
                      <a:gd name="T69" fmla="*/ 252 h 356"/>
                      <a:gd name="T70" fmla="*/ 88 w 284"/>
                      <a:gd name="T71" fmla="*/ 142 h 356"/>
                      <a:gd name="T72" fmla="*/ 90 w 284"/>
                      <a:gd name="T73" fmla="*/ 78 h 356"/>
                      <a:gd name="T74" fmla="*/ 104 w 284"/>
                      <a:gd name="T75" fmla="*/ 50 h 356"/>
                      <a:gd name="T76" fmla="*/ 132 w 284"/>
                      <a:gd name="T77" fmla="*/ 36 h 356"/>
                      <a:gd name="T78" fmla="*/ 152 w 284"/>
                      <a:gd name="T79" fmla="*/ 36 h 356"/>
                      <a:gd name="T80" fmla="*/ 180 w 284"/>
                      <a:gd name="T81" fmla="*/ 50 h 356"/>
                      <a:gd name="T82" fmla="*/ 194 w 284"/>
                      <a:gd name="T83" fmla="*/ 78 h 35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</a:cxnLst>
                    <a:rect l="0" t="0" r="r" b="b"/>
                    <a:pathLst>
                      <a:path w="284" h="356">
                        <a:moveTo>
                          <a:pt x="264" y="142"/>
                        </a:moveTo>
                        <a:lnTo>
                          <a:pt x="232" y="142"/>
                        </a:lnTo>
                        <a:lnTo>
                          <a:pt x="232" y="90"/>
                        </a:lnTo>
                        <a:lnTo>
                          <a:pt x="232" y="90"/>
                        </a:lnTo>
                        <a:lnTo>
                          <a:pt x="230" y="70"/>
                        </a:lnTo>
                        <a:lnTo>
                          <a:pt x="224" y="54"/>
                        </a:lnTo>
                        <a:lnTo>
                          <a:pt x="216" y="38"/>
                        </a:lnTo>
                        <a:lnTo>
                          <a:pt x="206" y="26"/>
                        </a:lnTo>
                        <a:lnTo>
                          <a:pt x="192" y="14"/>
                        </a:lnTo>
                        <a:lnTo>
                          <a:pt x="176" y="6"/>
                        </a:lnTo>
                        <a:lnTo>
                          <a:pt x="160" y="0"/>
                        </a:lnTo>
                        <a:lnTo>
                          <a:pt x="142" y="0"/>
                        </a:lnTo>
                        <a:lnTo>
                          <a:pt x="142" y="0"/>
                        </a:lnTo>
                        <a:lnTo>
                          <a:pt x="124" y="0"/>
                        </a:lnTo>
                        <a:lnTo>
                          <a:pt x="108" y="6"/>
                        </a:lnTo>
                        <a:lnTo>
                          <a:pt x="92" y="14"/>
                        </a:lnTo>
                        <a:lnTo>
                          <a:pt x="78" y="26"/>
                        </a:lnTo>
                        <a:lnTo>
                          <a:pt x="68" y="38"/>
                        </a:lnTo>
                        <a:lnTo>
                          <a:pt x="60" y="54"/>
                        </a:lnTo>
                        <a:lnTo>
                          <a:pt x="54" y="70"/>
                        </a:lnTo>
                        <a:lnTo>
                          <a:pt x="52" y="90"/>
                        </a:lnTo>
                        <a:lnTo>
                          <a:pt x="52" y="142"/>
                        </a:lnTo>
                        <a:lnTo>
                          <a:pt x="20" y="142"/>
                        </a:lnTo>
                        <a:lnTo>
                          <a:pt x="20" y="142"/>
                        </a:lnTo>
                        <a:lnTo>
                          <a:pt x="12" y="142"/>
                        </a:lnTo>
                        <a:lnTo>
                          <a:pt x="6" y="146"/>
                        </a:lnTo>
                        <a:lnTo>
                          <a:pt x="0" y="154"/>
                        </a:lnTo>
                        <a:lnTo>
                          <a:pt x="0" y="162"/>
                        </a:lnTo>
                        <a:lnTo>
                          <a:pt x="0" y="302"/>
                        </a:lnTo>
                        <a:lnTo>
                          <a:pt x="0" y="302"/>
                        </a:lnTo>
                        <a:lnTo>
                          <a:pt x="0" y="304"/>
                        </a:lnTo>
                        <a:lnTo>
                          <a:pt x="0" y="304"/>
                        </a:lnTo>
                        <a:lnTo>
                          <a:pt x="0" y="306"/>
                        </a:lnTo>
                        <a:lnTo>
                          <a:pt x="0" y="306"/>
                        </a:lnTo>
                        <a:lnTo>
                          <a:pt x="0" y="306"/>
                        </a:lnTo>
                        <a:lnTo>
                          <a:pt x="0" y="306"/>
                        </a:lnTo>
                        <a:lnTo>
                          <a:pt x="0" y="310"/>
                        </a:lnTo>
                        <a:lnTo>
                          <a:pt x="0" y="310"/>
                        </a:lnTo>
                        <a:lnTo>
                          <a:pt x="2" y="312"/>
                        </a:lnTo>
                        <a:lnTo>
                          <a:pt x="2" y="312"/>
                        </a:lnTo>
                        <a:lnTo>
                          <a:pt x="2" y="314"/>
                        </a:lnTo>
                        <a:lnTo>
                          <a:pt x="2" y="314"/>
                        </a:lnTo>
                        <a:lnTo>
                          <a:pt x="4" y="314"/>
                        </a:lnTo>
                        <a:lnTo>
                          <a:pt x="4" y="314"/>
                        </a:lnTo>
                        <a:lnTo>
                          <a:pt x="4" y="316"/>
                        </a:lnTo>
                        <a:lnTo>
                          <a:pt x="4" y="316"/>
                        </a:lnTo>
                        <a:lnTo>
                          <a:pt x="6" y="318"/>
                        </a:lnTo>
                        <a:lnTo>
                          <a:pt x="6" y="318"/>
                        </a:lnTo>
                        <a:lnTo>
                          <a:pt x="8" y="318"/>
                        </a:lnTo>
                        <a:lnTo>
                          <a:pt x="8" y="318"/>
                        </a:lnTo>
                        <a:lnTo>
                          <a:pt x="8" y="320"/>
                        </a:lnTo>
                        <a:lnTo>
                          <a:pt x="8" y="320"/>
                        </a:lnTo>
                        <a:lnTo>
                          <a:pt x="10" y="320"/>
                        </a:lnTo>
                        <a:lnTo>
                          <a:pt x="10" y="320"/>
                        </a:lnTo>
                        <a:lnTo>
                          <a:pt x="40" y="336"/>
                        </a:lnTo>
                        <a:lnTo>
                          <a:pt x="74" y="346"/>
                        </a:lnTo>
                        <a:lnTo>
                          <a:pt x="108" y="354"/>
                        </a:lnTo>
                        <a:lnTo>
                          <a:pt x="142" y="356"/>
                        </a:lnTo>
                        <a:lnTo>
                          <a:pt x="142" y="356"/>
                        </a:lnTo>
                        <a:lnTo>
                          <a:pt x="176" y="354"/>
                        </a:lnTo>
                        <a:lnTo>
                          <a:pt x="210" y="346"/>
                        </a:lnTo>
                        <a:lnTo>
                          <a:pt x="244" y="336"/>
                        </a:lnTo>
                        <a:lnTo>
                          <a:pt x="274" y="320"/>
                        </a:lnTo>
                        <a:lnTo>
                          <a:pt x="274" y="320"/>
                        </a:lnTo>
                        <a:lnTo>
                          <a:pt x="276" y="320"/>
                        </a:lnTo>
                        <a:lnTo>
                          <a:pt x="276" y="320"/>
                        </a:lnTo>
                        <a:lnTo>
                          <a:pt x="276" y="320"/>
                        </a:lnTo>
                        <a:lnTo>
                          <a:pt x="276" y="320"/>
                        </a:lnTo>
                        <a:lnTo>
                          <a:pt x="278" y="316"/>
                        </a:lnTo>
                        <a:lnTo>
                          <a:pt x="278" y="316"/>
                        </a:lnTo>
                        <a:lnTo>
                          <a:pt x="278" y="316"/>
                        </a:lnTo>
                        <a:lnTo>
                          <a:pt x="278" y="316"/>
                        </a:lnTo>
                        <a:lnTo>
                          <a:pt x="284" y="310"/>
                        </a:lnTo>
                        <a:lnTo>
                          <a:pt x="284" y="302"/>
                        </a:lnTo>
                        <a:lnTo>
                          <a:pt x="284" y="162"/>
                        </a:lnTo>
                        <a:lnTo>
                          <a:pt x="284" y="162"/>
                        </a:lnTo>
                        <a:lnTo>
                          <a:pt x="284" y="154"/>
                        </a:lnTo>
                        <a:lnTo>
                          <a:pt x="278" y="146"/>
                        </a:lnTo>
                        <a:lnTo>
                          <a:pt x="272" y="142"/>
                        </a:lnTo>
                        <a:lnTo>
                          <a:pt x="264" y="142"/>
                        </a:lnTo>
                        <a:lnTo>
                          <a:pt x="264" y="142"/>
                        </a:lnTo>
                        <a:close/>
                        <a:moveTo>
                          <a:pt x="152" y="252"/>
                        </a:moveTo>
                        <a:lnTo>
                          <a:pt x="152" y="294"/>
                        </a:lnTo>
                        <a:lnTo>
                          <a:pt x="132" y="294"/>
                        </a:lnTo>
                        <a:lnTo>
                          <a:pt x="132" y="252"/>
                        </a:lnTo>
                        <a:lnTo>
                          <a:pt x="132" y="252"/>
                        </a:lnTo>
                        <a:lnTo>
                          <a:pt x="126" y="248"/>
                        </a:lnTo>
                        <a:lnTo>
                          <a:pt x="120" y="242"/>
                        </a:lnTo>
                        <a:lnTo>
                          <a:pt x="116" y="234"/>
                        </a:lnTo>
                        <a:lnTo>
                          <a:pt x="114" y="226"/>
                        </a:lnTo>
                        <a:lnTo>
                          <a:pt x="114" y="226"/>
                        </a:lnTo>
                        <a:lnTo>
                          <a:pt x="118" y="216"/>
                        </a:lnTo>
                        <a:lnTo>
                          <a:pt x="122" y="208"/>
                        </a:lnTo>
                        <a:lnTo>
                          <a:pt x="132" y="202"/>
                        </a:lnTo>
                        <a:lnTo>
                          <a:pt x="142" y="200"/>
                        </a:lnTo>
                        <a:lnTo>
                          <a:pt x="142" y="200"/>
                        </a:lnTo>
                        <a:lnTo>
                          <a:pt x="152" y="202"/>
                        </a:lnTo>
                        <a:lnTo>
                          <a:pt x="162" y="208"/>
                        </a:lnTo>
                        <a:lnTo>
                          <a:pt x="166" y="216"/>
                        </a:lnTo>
                        <a:lnTo>
                          <a:pt x="170" y="226"/>
                        </a:lnTo>
                        <a:lnTo>
                          <a:pt x="170" y="226"/>
                        </a:lnTo>
                        <a:lnTo>
                          <a:pt x="168" y="234"/>
                        </a:lnTo>
                        <a:lnTo>
                          <a:pt x="164" y="242"/>
                        </a:lnTo>
                        <a:lnTo>
                          <a:pt x="158" y="248"/>
                        </a:lnTo>
                        <a:lnTo>
                          <a:pt x="152" y="252"/>
                        </a:lnTo>
                        <a:lnTo>
                          <a:pt x="152" y="252"/>
                        </a:lnTo>
                        <a:close/>
                        <a:moveTo>
                          <a:pt x="196" y="142"/>
                        </a:moveTo>
                        <a:lnTo>
                          <a:pt x="88" y="142"/>
                        </a:lnTo>
                        <a:lnTo>
                          <a:pt x="88" y="90"/>
                        </a:lnTo>
                        <a:lnTo>
                          <a:pt x="88" y="90"/>
                        </a:lnTo>
                        <a:lnTo>
                          <a:pt x="90" y="78"/>
                        </a:lnTo>
                        <a:lnTo>
                          <a:pt x="92" y="68"/>
                        </a:lnTo>
                        <a:lnTo>
                          <a:pt x="98" y="58"/>
                        </a:lnTo>
                        <a:lnTo>
                          <a:pt x="104" y="50"/>
                        </a:lnTo>
                        <a:lnTo>
                          <a:pt x="112" y="44"/>
                        </a:lnTo>
                        <a:lnTo>
                          <a:pt x="122" y="40"/>
                        </a:lnTo>
                        <a:lnTo>
                          <a:pt x="132" y="36"/>
                        </a:lnTo>
                        <a:lnTo>
                          <a:pt x="142" y="36"/>
                        </a:lnTo>
                        <a:lnTo>
                          <a:pt x="142" y="36"/>
                        </a:lnTo>
                        <a:lnTo>
                          <a:pt x="152" y="36"/>
                        </a:lnTo>
                        <a:lnTo>
                          <a:pt x="162" y="40"/>
                        </a:lnTo>
                        <a:lnTo>
                          <a:pt x="172" y="44"/>
                        </a:lnTo>
                        <a:lnTo>
                          <a:pt x="180" y="50"/>
                        </a:lnTo>
                        <a:lnTo>
                          <a:pt x="186" y="58"/>
                        </a:lnTo>
                        <a:lnTo>
                          <a:pt x="192" y="68"/>
                        </a:lnTo>
                        <a:lnTo>
                          <a:pt x="194" y="78"/>
                        </a:lnTo>
                        <a:lnTo>
                          <a:pt x="196" y="90"/>
                        </a:lnTo>
                        <a:lnTo>
                          <a:pt x="196" y="142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</a:endParaRPr>
                  </a:p>
                </p:txBody>
              </p:sp>
              <p:sp>
                <p:nvSpPr>
                  <p:cNvPr id="82" name="Freeform 4993"/>
                  <p:cNvSpPr>
                    <a:spLocks noEditPoints="1"/>
                  </p:cNvSpPr>
                  <p:nvPr/>
                </p:nvSpPr>
                <p:spPr bwMode="auto">
                  <a:xfrm>
                    <a:off x="4391616" y="5595015"/>
                    <a:ext cx="407068" cy="465220"/>
                  </a:xfrm>
                  <a:custGeom>
                    <a:avLst/>
                    <a:gdLst>
                      <a:gd name="T0" fmla="*/ 188 w 336"/>
                      <a:gd name="T1" fmla="*/ 270 h 384"/>
                      <a:gd name="T2" fmla="*/ 204 w 336"/>
                      <a:gd name="T3" fmla="*/ 282 h 384"/>
                      <a:gd name="T4" fmla="*/ 226 w 336"/>
                      <a:gd name="T5" fmla="*/ 306 h 384"/>
                      <a:gd name="T6" fmla="*/ 228 w 336"/>
                      <a:gd name="T7" fmla="*/ 320 h 384"/>
                      <a:gd name="T8" fmla="*/ 212 w 336"/>
                      <a:gd name="T9" fmla="*/ 348 h 384"/>
                      <a:gd name="T10" fmla="*/ 166 w 336"/>
                      <a:gd name="T11" fmla="*/ 368 h 384"/>
                      <a:gd name="T12" fmla="*/ 116 w 336"/>
                      <a:gd name="T13" fmla="*/ 376 h 384"/>
                      <a:gd name="T14" fmla="*/ 10 w 336"/>
                      <a:gd name="T15" fmla="*/ 384 h 384"/>
                      <a:gd name="T16" fmla="*/ 2 w 336"/>
                      <a:gd name="T17" fmla="*/ 380 h 384"/>
                      <a:gd name="T18" fmla="*/ 0 w 336"/>
                      <a:gd name="T19" fmla="*/ 374 h 384"/>
                      <a:gd name="T20" fmla="*/ 6 w 336"/>
                      <a:gd name="T21" fmla="*/ 364 h 384"/>
                      <a:gd name="T22" fmla="*/ 54 w 336"/>
                      <a:gd name="T23" fmla="*/ 362 h 384"/>
                      <a:gd name="T24" fmla="*/ 156 w 336"/>
                      <a:gd name="T25" fmla="*/ 350 h 384"/>
                      <a:gd name="T26" fmla="*/ 206 w 336"/>
                      <a:gd name="T27" fmla="*/ 328 h 384"/>
                      <a:gd name="T28" fmla="*/ 208 w 336"/>
                      <a:gd name="T29" fmla="*/ 320 h 384"/>
                      <a:gd name="T30" fmla="*/ 192 w 336"/>
                      <a:gd name="T31" fmla="*/ 300 h 384"/>
                      <a:gd name="T32" fmla="*/ 176 w 336"/>
                      <a:gd name="T33" fmla="*/ 286 h 384"/>
                      <a:gd name="T34" fmla="*/ 166 w 336"/>
                      <a:gd name="T35" fmla="*/ 264 h 384"/>
                      <a:gd name="T36" fmla="*/ 172 w 336"/>
                      <a:gd name="T37" fmla="*/ 246 h 384"/>
                      <a:gd name="T38" fmla="*/ 194 w 336"/>
                      <a:gd name="T39" fmla="*/ 228 h 384"/>
                      <a:gd name="T40" fmla="*/ 254 w 336"/>
                      <a:gd name="T41" fmla="*/ 212 h 384"/>
                      <a:gd name="T42" fmla="*/ 326 w 336"/>
                      <a:gd name="T43" fmla="*/ 206 h 384"/>
                      <a:gd name="T44" fmla="*/ 334 w 336"/>
                      <a:gd name="T45" fmla="*/ 212 h 384"/>
                      <a:gd name="T46" fmla="*/ 334 w 336"/>
                      <a:gd name="T47" fmla="*/ 220 h 384"/>
                      <a:gd name="T48" fmla="*/ 326 w 336"/>
                      <a:gd name="T49" fmla="*/ 226 h 384"/>
                      <a:gd name="T50" fmla="*/ 264 w 336"/>
                      <a:gd name="T51" fmla="*/ 230 h 384"/>
                      <a:gd name="T52" fmla="*/ 206 w 336"/>
                      <a:gd name="T53" fmla="*/ 244 h 384"/>
                      <a:gd name="T54" fmla="*/ 186 w 336"/>
                      <a:gd name="T55" fmla="*/ 264 h 384"/>
                      <a:gd name="T56" fmla="*/ 174 w 336"/>
                      <a:gd name="T57" fmla="*/ 70 h 384"/>
                      <a:gd name="T58" fmla="*/ 186 w 336"/>
                      <a:gd name="T59" fmla="*/ 10 h 384"/>
                      <a:gd name="T60" fmla="*/ 136 w 336"/>
                      <a:gd name="T61" fmla="*/ 0 h 384"/>
                      <a:gd name="T62" fmla="*/ 114 w 336"/>
                      <a:gd name="T63" fmla="*/ 36 h 384"/>
                      <a:gd name="T64" fmla="*/ 62 w 336"/>
                      <a:gd name="T65" fmla="*/ 144 h 384"/>
                      <a:gd name="T66" fmla="*/ 82 w 336"/>
                      <a:gd name="T67" fmla="*/ 204 h 384"/>
                      <a:gd name="T68" fmla="*/ 122 w 336"/>
                      <a:gd name="T69" fmla="*/ 216 h 384"/>
                      <a:gd name="T70" fmla="*/ 192 w 336"/>
                      <a:gd name="T71" fmla="*/ 124 h 384"/>
                      <a:gd name="T72" fmla="*/ 228 w 336"/>
                      <a:gd name="T73" fmla="*/ 62 h 384"/>
                      <a:gd name="T74" fmla="*/ 222 w 336"/>
                      <a:gd name="T75" fmla="*/ 24 h 384"/>
                      <a:gd name="T76" fmla="*/ 190 w 336"/>
                      <a:gd name="T77" fmla="*/ 80 h 384"/>
                      <a:gd name="T78" fmla="*/ 118 w 336"/>
                      <a:gd name="T79" fmla="*/ 188 h 384"/>
                      <a:gd name="T80" fmla="*/ 110 w 336"/>
                      <a:gd name="T81" fmla="*/ 192 h 384"/>
                      <a:gd name="T82" fmla="*/ 104 w 336"/>
                      <a:gd name="T83" fmla="*/ 190 h 384"/>
                      <a:gd name="T84" fmla="*/ 100 w 336"/>
                      <a:gd name="T85" fmla="*/ 184 h 384"/>
                      <a:gd name="T86" fmla="*/ 104 w 336"/>
                      <a:gd name="T87" fmla="*/ 176 h 384"/>
                      <a:gd name="T88" fmla="*/ 174 w 336"/>
                      <a:gd name="T89" fmla="*/ 70 h 384"/>
                      <a:gd name="T90" fmla="*/ 40 w 336"/>
                      <a:gd name="T91" fmla="*/ 232 h 384"/>
                      <a:gd name="T92" fmla="*/ 60 w 336"/>
                      <a:gd name="T93" fmla="*/ 242 h 384"/>
                      <a:gd name="T94" fmla="*/ 78 w 336"/>
                      <a:gd name="T95" fmla="*/ 254 h 384"/>
                      <a:gd name="T96" fmla="*/ 46 w 336"/>
                      <a:gd name="T97" fmla="*/ 252 h 384"/>
                      <a:gd name="T98" fmla="*/ 22 w 336"/>
                      <a:gd name="T99" fmla="*/ 244 h 384"/>
                      <a:gd name="T100" fmla="*/ 4 w 336"/>
                      <a:gd name="T101" fmla="*/ 338 h 384"/>
                      <a:gd name="T102" fmla="*/ 82 w 336"/>
                      <a:gd name="T103" fmla="*/ 284 h 384"/>
                      <a:gd name="T104" fmla="*/ 58 w 336"/>
                      <a:gd name="T105" fmla="*/ 258 h 384"/>
                      <a:gd name="T106" fmla="*/ 34 w 336"/>
                      <a:gd name="T107" fmla="*/ 296 h 384"/>
                      <a:gd name="T108" fmla="*/ 28 w 336"/>
                      <a:gd name="T109" fmla="*/ 296 h 384"/>
                      <a:gd name="T110" fmla="*/ 26 w 336"/>
                      <a:gd name="T111" fmla="*/ 288 h 384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</a:cxnLst>
                    <a:rect l="0" t="0" r="r" b="b"/>
                    <a:pathLst>
                      <a:path w="336" h="384">
                        <a:moveTo>
                          <a:pt x="186" y="264"/>
                        </a:moveTo>
                        <a:lnTo>
                          <a:pt x="186" y="264"/>
                        </a:lnTo>
                        <a:lnTo>
                          <a:pt x="188" y="270"/>
                        </a:lnTo>
                        <a:lnTo>
                          <a:pt x="192" y="274"/>
                        </a:lnTo>
                        <a:lnTo>
                          <a:pt x="204" y="282"/>
                        </a:lnTo>
                        <a:lnTo>
                          <a:pt x="204" y="282"/>
                        </a:lnTo>
                        <a:lnTo>
                          <a:pt x="212" y="288"/>
                        </a:lnTo>
                        <a:lnTo>
                          <a:pt x="220" y="296"/>
                        </a:lnTo>
                        <a:lnTo>
                          <a:pt x="226" y="306"/>
                        </a:lnTo>
                        <a:lnTo>
                          <a:pt x="228" y="312"/>
                        </a:lnTo>
                        <a:lnTo>
                          <a:pt x="228" y="320"/>
                        </a:lnTo>
                        <a:lnTo>
                          <a:pt x="228" y="320"/>
                        </a:lnTo>
                        <a:lnTo>
                          <a:pt x="226" y="330"/>
                        </a:lnTo>
                        <a:lnTo>
                          <a:pt x="222" y="338"/>
                        </a:lnTo>
                        <a:lnTo>
                          <a:pt x="212" y="348"/>
                        </a:lnTo>
                        <a:lnTo>
                          <a:pt x="200" y="354"/>
                        </a:lnTo>
                        <a:lnTo>
                          <a:pt x="184" y="362"/>
                        </a:lnTo>
                        <a:lnTo>
                          <a:pt x="166" y="368"/>
                        </a:lnTo>
                        <a:lnTo>
                          <a:pt x="142" y="372"/>
                        </a:lnTo>
                        <a:lnTo>
                          <a:pt x="116" y="376"/>
                        </a:lnTo>
                        <a:lnTo>
                          <a:pt x="116" y="376"/>
                        </a:lnTo>
                        <a:lnTo>
                          <a:pt x="78" y="380"/>
                        </a:lnTo>
                        <a:lnTo>
                          <a:pt x="44" y="382"/>
                        </a:lnTo>
                        <a:lnTo>
                          <a:pt x="10" y="384"/>
                        </a:lnTo>
                        <a:lnTo>
                          <a:pt x="10" y="384"/>
                        </a:lnTo>
                        <a:lnTo>
                          <a:pt x="6" y="382"/>
                        </a:lnTo>
                        <a:lnTo>
                          <a:pt x="2" y="380"/>
                        </a:lnTo>
                        <a:lnTo>
                          <a:pt x="0" y="378"/>
                        </a:lnTo>
                        <a:lnTo>
                          <a:pt x="0" y="374"/>
                        </a:lnTo>
                        <a:lnTo>
                          <a:pt x="0" y="374"/>
                        </a:lnTo>
                        <a:lnTo>
                          <a:pt x="0" y="370"/>
                        </a:lnTo>
                        <a:lnTo>
                          <a:pt x="2" y="366"/>
                        </a:lnTo>
                        <a:lnTo>
                          <a:pt x="6" y="364"/>
                        </a:lnTo>
                        <a:lnTo>
                          <a:pt x="10" y="364"/>
                        </a:lnTo>
                        <a:lnTo>
                          <a:pt x="10" y="364"/>
                        </a:lnTo>
                        <a:lnTo>
                          <a:pt x="54" y="362"/>
                        </a:lnTo>
                        <a:lnTo>
                          <a:pt x="92" y="360"/>
                        </a:lnTo>
                        <a:lnTo>
                          <a:pt x="126" y="354"/>
                        </a:lnTo>
                        <a:lnTo>
                          <a:pt x="156" y="350"/>
                        </a:lnTo>
                        <a:lnTo>
                          <a:pt x="178" y="342"/>
                        </a:lnTo>
                        <a:lnTo>
                          <a:pt x="194" y="336"/>
                        </a:lnTo>
                        <a:lnTo>
                          <a:pt x="206" y="328"/>
                        </a:lnTo>
                        <a:lnTo>
                          <a:pt x="208" y="324"/>
                        </a:lnTo>
                        <a:lnTo>
                          <a:pt x="208" y="320"/>
                        </a:lnTo>
                        <a:lnTo>
                          <a:pt x="208" y="320"/>
                        </a:lnTo>
                        <a:lnTo>
                          <a:pt x="208" y="314"/>
                        </a:lnTo>
                        <a:lnTo>
                          <a:pt x="204" y="308"/>
                        </a:lnTo>
                        <a:lnTo>
                          <a:pt x="192" y="300"/>
                        </a:lnTo>
                        <a:lnTo>
                          <a:pt x="192" y="300"/>
                        </a:lnTo>
                        <a:lnTo>
                          <a:pt x="184" y="294"/>
                        </a:lnTo>
                        <a:lnTo>
                          <a:pt x="176" y="286"/>
                        </a:lnTo>
                        <a:lnTo>
                          <a:pt x="170" y="276"/>
                        </a:lnTo>
                        <a:lnTo>
                          <a:pt x="168" y="270"/>
                        </a:lnTo>
                        <a:lnTo>
                          <a:pt x="166" y="264"/>
                        </a:lnTo>
                        <a:lnTo>
                          <a:pt x="166" y="264"/>
                        </a:lnTo>
                        <a:lnTo>
                          <a:pt x="168" y="254"/>
                        </a:lnTo>
                        <a:lnTo>
                          <a:pt x="172" y="246"/>
                        </a:lnTo>
                        <a:lnTo>
                          <a:pt x="178" y="240"/>
                        </a:lnTo>
                        <a:lnTo>
                          <a:pt x="186" y="234"/>
                        </a:lnTo>
                        <a:lnTo>
                          <a:pt x="194" y="228"/>
                        </a:lnTo>
                        <a:lnTo>
                          <a:pt x="204" y="224"/>
                        </a:lnTo>
                        <a:lnTo>
                          <a:pt x="228" y="216"/>
                        </a:lnTo>
                        <a:lnTo>
                          <a:pt x="254" y="212"/>
                        </a:lnTo>
                        <a:lnTo>
                          <a:pt x="280" y="208"/>
                        </a:lnTo>
                        <a:lnTo>
                          <a:pt x="326" y="206"/>
                        </a:lnTo>
                        <a:lnTo>
                          <a:pt x="326" y="206"/>
                        </a:lnTo>
                        <a:lnTo>
                          <a:pt x="330" y="208"/>
                        </a:lnTo>
                        <a:lnTo>
                          <a:pt x="332" y="210"/>
                        </a:lnTo>
                        <a:lnTo>
                          <a:pt x="334" y="212"/>
                        </a:lnTo>
                        <a:lnTo>
                          <a:pt x="336" y="216"/>
                        </a:lnTo>
                        <a:lnTo>
                          <a:pt x="336" y="216"/>
                        </a:lnTo>
                        <a:lnTo>
                          <a:pt x="334" y="220"/>
                        </a:lnTo>
                        <a:lnTo>
                          <a:pt x="332" y="224"/>
                        </a:lnTo>
                        <a:lnTo>
                          <a:pt x="330" y="226"/>
                        </a:lnTo>
                        <a:lnTo>
                          <a:pt x="326" y="226"/>
                        </a:lnTo>
                        <a:lnTo>
                          <a:pt x="326" y="226"/>
                        </a:lnTo>
                        <a:lnTo>
                          <a:pt x="292" y="228"/>
                        </a:lnTo>
                        <a:lnTo>
                          <a:pt x="264" y="230"/>
                        </a:lnTo>
                        <a:lnTo>
                          <a:pt x="240" y="234"/>
                        </a:lnTo>
                        <a:lnTo>
                          <a:pt x="220" y="238"/>
                        </a:lnTo>
                        <a:lnTo>
                          <a:pt x="206" y="244"/>
                        </a:lnTo>
                        <a:lnTo>
                          <a:pt x="196" y="250"/>
                        </a:lnTo>
                        <a:lnTo>
                          <a:pt x="188" y="258"/>
                        </a:lnTo>
                        <a:lnTo>
                          <a:pt x="186" y="264"/>
                        </a:lnTo>
                        <a:lnTo>
                          <a:pt x="186" y="264"/>
                        </a:lnTo>
                        <a:close/>
                        <a:moveTo>
                          <a:pt x="174" y="70"/>
                        </a:moveTo>
                        <a:lnTo>
                          <a:pt x="174" y="70"/>
                        </a:lnTo>
                        <a:lnTo>
                          <a:pt x="204" y="16"/>
                        </a:lnTo>
                        <a:lnTo>
                          <a:pt x="204" y="16"/>
                        </a:lnTo>
                        <a:lnTo>
                          <a:pt x="186" y="10"/>
                        </a:lnTo>
                        <a:lnTo>
                          <a:pt x="170" y="4"/>
                        </a:lnTo>
                        <a:lnTo>
                          <a:pt x="152" y="2"/>
                        </a:lnTo>
                        <a:lnTo>
                          <a:pt x="136" y="0"/>
                        </a:lnTo>
                        <a:lnTo>
                          <a:pt x="136" y="0"/>
                        </a:lnTo>
                        <a:lnTo>
                          <a:pt x="114" y="36"/>
                        </a:lnTo>
                        <a:lnTo>
                          <a:pt x="114" y="36"/>
                        </a:lnTo>
                        <a:lnTo>
                          <a:pt x="96" y="68"/>
                        </a:lnTo>
                        <a:lnTo>
                          <a:pt x="82" y="96"/>
                        </a:lnTo>
                        <a:lnTo>
                          <a:pt x="62" y="144"/>
                        </a:lnTo>
                        <a:lnTo>
                          <a:pt x="52" y="176"/>
                        </a:lnTo>
                        <a:lnTo>
                          <a:pt x="48" y="186"/>
                        </a:lnTo>
                        <a:lnTo>
                          <a:pt x="82" y="204"/>
                        </a:lnTo>
                        <a:lnTo>
                          <a:pt x="114" y="224"/>
                        </a:lnTo>
                        <a:lnTo>
                          <a:pt x="114" y="224"/>
                        </a:lnTo>
                        <a:lnTo>
                          <a:pt x="122" y="216"/>
                        </a:lnTo>
                        <a:lnTo>
                          <a:pt x="142" y="192"/>
                        </a:lnTo>
                        <a:lnTo>
                          <a:pt x="174" y="150"/>
                        </a:lnTo>
                        <a:lnTo>
                          <a:pt x="192" y="124"/>
                        </a:lnTo>
                        <a:lnTo>
                          <a:pt x="212" y="92"/>
                        </a:lnTo>
                        <a:lnTo>
                          <a:pt x="212" y="92"/>
                        </a:lnTo>
                        <a:lnTo>
                          <a:pt x="228" y="62"/>
                        </a:lnTo>
                        <a:lnTo>
                          <a:pt x="242" y="36"/>
                        </a:lnTo>
                        <a:lnTo>
                          <a:pt x="242" y="36"/>
                        </a:lnTo>
                        <a:lnTo>
                          <a:pt x="222" y="24"/>
                        </a:lnTo>
                        <a:lnTo>
                          <a:pt x="222" y="24"/>
                        </a:lnTo>
                        <a:lnTo>
                          <a:pt x="190" y="80"/>
                        </a:lnTo>
                        <a:lnTo>
                          <a:pt x="190" y="80"/>
                        </a:lnTo>
                        <a:lnTo>
                          <a:pt x="162" y="126"/>
                        </a:lnTo>
                        <a:lnTo>
                          <a:pt x="140" y="160"/>
                        </a:lnTo>
                        <a:lnTo>
                          <a:pt x="118" y="188"/>
                        </a:lnTo>
                        <a:lnTo>
                          <a:pt x="118" y="188"/>
                        </a:lnTo>
                        <a:lnTo>
                          <a:pt x="116" y="192"/>
                        </a:lnTo>
                        <a:lnTo>
                          <a:pt x="110" y="192"/>
                        </a:lnTo>
                        <a:lnTo>
                          <a:pt x="110" y="192"/>
                        </a:lnTo>
                        <a:lnTo>
                          <a:pt x="108" y="192"/>
                        </a:lnTo>
                        <a:lnTo>
                          <a:pt x="104" y="190"/>
                        </a:lnTo>
                        <a:lnTo>
                          <a:pt x="104" y="190"/>
                        </a:lnTo>
                        <a:lnTo>
                          <a:pt x="102" y="186"/>
                        </a:lnTo>
                        <a:lnTo>
                          <a:pt x="100" y="184"/>
                        </a:lnTo>
                        <a:lnTo>
                          <a:pt x="102" y="180"/>
                        </a:lnTo>
                        <a:lnTo>
                          <a:pt x="104" y="176"/>
                        </a:lnTo>
                        <a:lnTo>
                          <a:pt x="104" y="176"/>
                        </a:lnTo>
                        <a:lnTo>
                          <a:pt x="124" y="148"/>
                        </a:lnTo>
                        <a:lnTo>
                          <a:pt x="146" y="116"/>
                        </a:lnTo>
                        <a:lnTo>
                          <a:pt x="174" y="70"/>
                        </a:lnTo>
                        <a:lnTo>
                          <a:pt x="174" y="70"/>
                        </a:lnTo>
                        <a:close/>
                        <a:moveTo>
                          <a:pt x="44" y="202"/>
                        </a:moveTo>
                        <a:lnTo>
                          <a:pt x="40" y="232"/>
                        </a:lnTo>
                        <a:lnTo>
                          <a:pt x="40" y="232"/>
                        </a:lnTo>
                        <a:lnTo>
                          <a:pt x="50" y="236"/>
                        </a:lnTo>
                        <a:lnTo>
                          <a:pt x="60" y="242"/>
                        </a:lnTo>
                        <a:lnTo>
                          <a:pt x="60" y="242"/>
                        </a:lnTo>
                        <a:lnTo>
                          <a:pt x="70" y="248"/>
                        </a:lnTo>
                        <a:lnTo>
                          <a:pt x="78" y="254"/>
                        </a:lnTo>
                        <a:lnTo>
                          <a:pt x="100" y="236"/>
                        </a:lnTo>
                        <a:lnTo>
                          <a:pt x="44" y="202"/>
                        </a:lnTo>
                        <a:close/>
                        <a:moveTo>
                          <a:pt x="46" y="252"/>
                        </a:moveTo>
                        <a:lnTo>
                          <a:pt x="46" y="252"/>
                        </a:lnTo>
                        <a:lnTo>
                          <a:pt x="34" y="246"/>
                        </a:lnTo>
                        <a:lnTo>
                          <a:pt x="22" y="244"/>
                        </a:lnTo>
                        <a:lnTo>
                          <a:pt x="12" y="244"/>
                        </a:lnTo>
                        <a:lnTo>
                          <a:pt x="4" y="244"/>
                        </a:lnTo>
                        <a:lnTo>
                          <a:pt x="4" y="338"/>
                        </a:lnTo>
                        <a:lnTo>
                          <a:pt x="84" y="292"/>
                        </a:lnTo>
                        <a:lnTo>
                          <a:pt x="84" y="292"/>
                        </a:lnTo>
                        <a:lnTo>
                          <a:pt x="82" y="284"/>
                        </a:lnTo>
                        <a:lnTo>
                          <a:pt x="76" y="276"/>
                        </a:lnTo>
                        <a:lnTo>
                          <a:pt x="68" y="266"/>
                        </a:lnTo>
                        <a:lnTo>
                          <a:pt x="58" y="258"/>
                        </a:lnTo>
                        <a:lnTo>
                          <a:pt x="36" y="294"/>
                        </a:lnTo>
                        <a:lnTo>
                          <a:pt x="36" y="294"/>
                        </a:lnTo>
                        <a:lnTo>
                          <a:pt x="34" y="296"/>
                        </a:lnTo>
                        <a:lnTo>
                          <a:pt x="32" y="296"/>
                        </a:lnTo>
                        <a:lnTo>
                          <a:pt x="32" y="296"/>
                        </a:lnTo>
                        <a:lnTo>
                          <a:pt x="28" y="296"/>
                        </a:lnTo>
                        <a:lnTo>
                          <a:pt x="28" y="296"/>
                        </a:lnTo>
                        <a:lnTo>
                          <a:pt x="26" y="292"/>
                        </a:lnTo>
                        <a:lnTo>
                          <a:pt x="26" y="288"/>
                        </a:lnTo>
                        <a:lnTo>
                          <a:pt x="46" y="252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</a:endParaRPr>
                  </a:p>
                </p:txBody>
              </p:sp>
              <p:sp>
                <p:nvSpPr>
                  <p:cNvPr id="83" name="Freeform 5005"/>
                  <p:cNvSpPr>
                    <a:spLocks noEditPoints="1"/>
                  </p:cNvSpPr>
                  <p:nvPr/>
                </p:nvSpPr>
                <p:spPr bwMode="auto">
                  <a:xfrm>
                    <a:off x="6461378" y="3676430"/>
                    <a:ext cx="317503" cy="224576"/>
                  </a:xfrm>
                  <a:custGeom>
                    <a:avLst/>
                    <a:gdLst>
                      <a:gd name="T0" fmla="*/ 10 w 328"/>
                      <a:gd name="T1" fmla="*/ 0 h 232"/>
                      <a:gd name="T2" fmla="*/ 8 w 328"/>
                      <a:gd name="T3" fmla="*/ 2 h 232"/>
                      <a:gd name="T4" fmla="*/ 2 w 328"/>
                      <a:gd name="T5" fmla="*/ 6 h 232"/>
                      <a:gd name="T6" fmla="*/ 0 w 328"/>
                      <a:gd name="T7" fmla="*/ 14 h 232"/>
                      <a:gd name="T8" fmla="*/ 0 w 328"/>
                      <a:gd name="T9" fmla="*/ 222 h 232"/>
                      <a:gd name="T10" fmla="*/ 2 w 328"/>
                      <a:gd name="T11" fmla="*/ 222 h 232"/>
                      <a:gd name="T12" fmla="*/ 2 w 328"/>
                      <a:gd name="T13" fmla="*/ 224 h 232"/>
                      <a:gd name="T14" fmla="*/ 2 w 328"/>
                      <a:gd name="T15" fmla="*/ 224 h 232"/>
                      <a:gd name="T16" fmla="*/ 2 w 328"/>
                      <a:gd name="T17" fmla="*/ 226 h 232"/>
                      <a:gd name="T18" fmla="*/ 4 w 328"/>
                      <a:gd name="T19" fmla="*/ 228 h 232"/>
                      <a:gd name="T20" fmla="*/ 4 w 328"/>
                      <a:gd name="T21" fmla="*/ 228 h 232"/>
                      <a:gd name="T22" fmla="*/ 6 w 328"/>
                      <a:gd name="T23" fmla="*/ 230 h 232"/>
                      <a:gd name="T24" fmla="*/ 8 w 328"/>
                      <a:gd name="T25" fmla="*/ 230 h 232"/>
                      <a:gd name="T26" fmla="*/ 318 w 328"/>
                      <a:gd name="T27" fmla="*/ 232 h 232"/>
                      <a:gd name="T28" fmla="*/ 320 w 328"/>
                      <a:gd name="T29" fmla="*/ 230 h 232"/>
                      <a:gd name="T30" fmla="*/ 322 w 328"/>
                      <a:gd name="T31" fmla="*/ 230 h 232"/>
                      <a:gd name="T32" fmla="*/ 324 w 328"/>
                      <a:gd name="T33" fmla="*/ 228 h 232"/>
                      <a:gd name="T34" fmla="*/ 324 w 328"/>
                      <a:gd name="T35" fmla="*/ 228 h 232"/>
                      <a:gd name="T36" fmla="*/ 326 w 328"/>
                      <a:gd name="T37" fmla="*/ 226 h 232"/>
                      <a:gd name="T38" fmla="*/ 326 w 328"/>
                      <a:gd name="T39" fmla="*/ 224 h 232"/>
                      <a:gd name="T40" fmla="*/ 326 w 328"/>
                      <a:gd name="T41" fmla="*/ 224 h 232"/>
                      <a:gd name="T42" fmla="*/ 326 w 328"/>
                      <a:gd name="T43" fmla="*/ 222 h 232"/>
                      <a:gd name="T44" fmla="*/ 328 w 328"/>
                      <a:gd name="T45" fmla="*/ 222 h 232"/>
                      <a:gd name="T46" fmla="*/ 328 w 328"/>
                      <a:gd name="T47" fmla="*/ 10 h 232"/>
                      <a:gd name="T48" fmla="*/ 326 w 328"/>
                      <a:gd name="T49" fmla="*/ 6 h 232"/>
                      <a:gd name="T50" fmla="*/ 320 w 328"/>
                      <a:gd name="T51" fmla="*/ 2 h 232"/>
                      <a:gd name="T52" fmla="*/ 318 w 328"/>
                      <a:gd name="T53" fmla="*/ 0 h 232"/>
                      <a:gd name="T54" fmla="*/ 164 w 328"/>
                      <a:gd name="T55" fmla="*/ 150 h 232"/>
                      <a:gd name="T56" fmla="*/ 292 w 328"/>
                      <a:gd name="T57" fmla="*/ 20 h 232"/>
                      <a:gd name="T58" fmla="*/ 108 w 328"/>
                      <a:gd name="T59" fmla="*/ 122 h 232"/>
                      <a:gd name="T60" fmla="*/ 20 w 328"/>
                      <a:gd name="T61" fmla="*/ 36 h 232"/>
                      <a:gd name="T62" fmla="*/ 122 w 328"/>
                      <a:gd name="T63" fmla="*/ 136 h 232"/>
                      <a:gd name="T64" fmla="*/ 206 w 328"/>
                      <a:gd name="T65" fmla="*/ 136 h 232"/>
                      <a:gd name="T66" fmla="*/ 38 w 328"/>
                      <a:gd name="T67" fmla="*/ 212 h 232"/>
                      <a:gd name="T68" fmla="*/ 220 w 328"/>
                      <a:gd name="T69" fmla="*/ 122 h 232"/>
                      <a:gd name="T70" fmla="*/ 308 w 328"/>
                      <a:gd name="T71" fmla="*/ 200 h 232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</a:cxnLst>
                    <a:rect l="0" t="0" r="r" b="b"/>
                    <a:pathLst>
                      <a:path w="328" h="232">
                        <a:moveTo>
                          <a:pt x="318" y="0"/>
                        </a:moveTo>
                        <a:lnTo>
                          <a:pt x="10" y="0"/>
                        </a:lnTo>
                        <a:lnTo>
                          <a:pt x="10" y="0"/>
                        </a:lnTo>
                        <a:lnTo>
                          <a:pt x="8" y="2"/>
                        </a:lnTo>
                        <a:lnTo>
                          <a:pt x="4" y="4"/>
                        </a:lnTo>
                        <a:lnTo>
                          <a:pt x="2" y="6"/>
                        </a:lnTo>
                        <a:lnTo>
                          <a:pt x="0" y="10"/>
                        </a:lnTo>
                        <a:lnTo>
                          <a:pt x="0" y="14"/>
                        </a:lnTo>
                        <a:lnTo>
                          <a:pt x="0" y="222"/>
                        </a:lnTo>
                        <a:lnTo>
                          <a:pt x="0" y="222"/>
                        </a:lnTo>
                        <a:lnTo>
                          <a:pt x="2" y="222"/>
                        </a:lnTo>
                        <a:lnTo>
                          <a:pt x="2" y="222"/>
                        </a:lnTo>
                        <a:lnTo>
                          <a:pt x="2" y="224"/>
                        </a:lnTo>
                        <a:lnTo>
                          <a:pt x="2" y="224"/>
                        </a:lnTo>
                        <a:lnTo>
                          <a:pt x="2" y="224"/>
                        </a:lnTo>
                        <a:lnTo>
                          <a:pt x="2" y="224"/>
                        </a:lnTo>
                        <a:lnTo>
                          <a:pt x="2" y="226"/>
                        </a:lnTo>
                        <a:lnTo>
                          <a:pt x="2" y="226"/>
                        </a:lnTo>
                        <a:lnTo>
                          <a:pt x="4" y="228"/>
                        </a:lnTo>
                        <a:lnTo>
                          <a:pt x="4" y="228"/>
                        </a:lnTo>
                        <a:lnTo>
                          <a:pt x="4" y="228"/>
                        </a:lnTo>
                        <a:lnTo>
                          <a:pt x="4" y="228"/>
                        </a:lnTo>
                        <a:lnTo>
                          <a:pt x="6" y="230"/>
                        </a:lnTo>
                        <a:lnTo>
                          <a:pt x="6" y="230"/>
                        </a:lnTo>
                        <a:lnTo>
                          <a:pt x="8" y="230"/>
                        </a:lnTo>
                        <a:lnTo>
                          <a:pt x="8" y="230"/>
                        </a:lnTo>
                        <a:lnTo>
                          <a:pt x="10" y="232"/>
                        </a:lnTo>
                        <a:lnTo>
                          <a:pt x="318" y="232"/>
                        </a:lnTo>
                        <a:lnTo>
                          <a:pt x="318" y="232"/>
                        </a:lnTo>
                        <a:lnTo>
                          <a:pt x="320" y="230"/>
                        </a:lnTo>
                        <a:lnTo>
                          <a:pt x="320" y="230"/>
                        </a:lnTo>
                        <a:lnTo>
                          <a:pt x="322" y="230"/>
                        </a:lnTo>
                        <a:lnTo>
                          <a:pt x="322" y="230"/>
                        </a:lnTo>
                        <a:lnTo>
                          <a:pt x="324" y="228"/>
                        </a:lnTo>
                        <a:lnTo>
                          <a:pt x="324" y="228"/>
                        </a:lnTo>
                        <a:lnTo>
                          <a:pt x="324" y="228"/>
                        </a:lnTo>
                        <a:lnTo>
                          <a:pt x="324" y="228"/>
                        </a:lnTo>
                        <a:lnTo>
                          <a:pt x="326" y="226"/>
                        </a:lnTo>
                        <a:lnTo>
                          <a:pt x="326" y="226"/>
                        </a:lnTo>
                        <a:lnTo>
                          <a:pt x="326" y="224"/>
                        </a:lnTo>
                        <a:lnTo>
                          <a:pt x="326" y="224"/>
                        </a:lnTo>
                        <a:lnTo>
                          <a:pt x="326" y="224"/>
                        </a:lnTo>
                        <a:lnTo>
                          <a:pt x="326" y="224"/>
                        </a:lnTo>
                        <a:lnTo>
                          <a:pt x="326" y="222"/>
                        </a:lnTo>
                        <a:lnTo>
                          <a:pt x="326" y="222"/>
                        </a:lnTo>
                        <a:lnTo>
                          <a:pt x="328" y="222"/>
                        </a:lnTo>
                        <a:lnTo>
                          <a:pt x="328" y="14"/>
                        </a:lnTo>
                        <a:lnTo>
                          <a:pt x="328" y="10"/>
                        </a:lnTo>
                        <a:lnTo>
                          <a:pt x="328" y="10"/>
                        </a:lnTo>
                        <a:lnTo>
                          <a:pt x="326" y="6"/>
                        </a:lnTo>
                        <a:lnTo>
                          <a:pt x="324" y="4"/>
                        </a:lnTo>
                        <a:lnTo>
                          <a:pt x="320" y="2"/>
                        </a:lnTo>
                        <a:lnTo>
                          <a:pt x="318" y="0"/>
                        </a:lnTo>
                        <a:lnTo>
                          <a:pt x="318" y="0"/>
                        </a:lnTo>
                        <a:close/>
                        <a:moveTo>
                          <a:pt x="292" y="20"/>
                        </a:moveTo>
                        <a:lnTo>
                          <a:pt x="164" y="150"/>
                        </a:lnTo>
                        <a:lnTo>
                          <a:pt x="36" y="20"/>
                        </a:lnTo>
                        <a:lnTo>
                          <a:pt x="292" y="20"/>
                        </a:lnTo>
                        <a:close/>
                        <a:moveTo>
                          <a:pt x="20" y="36"/>
                        </a:moveTo>
                        <a:lnTo>
                          <a:pt x="108" y="122"/>
                        </a:lnTo>
                        <a:lnTo>
                          <a:pt x="20" y="200"/>
                        </a:lnTo>
                        <a:lnTo>
                          <a:pt x="20" y="36"/>
                        </a:lnTo>
                        <a:close/>
                        <a:moveTo>
                          <a:pt x="38" y="212"/>
                        </a:moveTo>
                        <a:lnTo>
                          <a:pt x="122" y="136"/>
                        </a:lnTo>
                        <a:lnTo>
                          <a:pt x="164" y="178"/>
                        </a:lnTo>
                        <a:lnTo>
                          <a:pt x="206" y="136"/>
                        </a:lnTo>
                        <a:lnTo>
                          <a:pt x="290" y="212"/>
                        </a:lnTo>
                        <a:lnTo>
                          <a:pt x="38" y="212"/>
                        </a:lnTo>
                        <a:close/>
                        <a:moveTo>
                          <a:pt x="308" y="200"/>
                        </a:moveTo>
                        <a:lnTo>
                          <a:pt x="220" y="122"/>
                        </a:lnTo>
                        <a:lnTo>
                          <a:pt x="308" y="36"/>
                        </a:lnTo>
                        <a:lnTo>
                          <a:pt x="308" y="200"/>
                        </a:lnTo>
                        <a:close/>
                      </a:path>
                    </a:pathLst>
                  </a:custGeom>
                  <a:solidFill>
                    <a:srgbClr val="E7E6E6"/>
                  </a:solidFill>
                  <a:ln>
                    <a:noFill/>
                  </a:ln>
                  <a:extLst>
                    <a:ext uri="{91240B29-F687-4F45-9708-019B960494DF}">
                      <a14:hiddenLine xmlns:a14="http://schemas.microsoft.com/office/drawing/2010/main" w="9525">
                        <a:solidFill>
                          <a:srgbClr val="000000"/>
                        </a:solidFill>
                        <a:round/>
                        <a:headEnd/>
                        <a:tailEnd/>
                      </a14:hiddenLine>
                    </a:ext>
                  </a:extLst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</a:endParaRPr>
                  </a:p>
                </p:txBody>
              </p:sp>
              <p:sp>
                <p:nvSpPr>
                  <p:cNvPr id="84" name="Freeform 3321"/>
                  <p:cNvSpPr>
                    <a:spLocks noChangeAspect="1" noEditPoints="1"/>
                  </p:cNvSpPr>
                  <p:nvPr/>
                </p:nvSpPr>
                <p:spPr bwMode="auto">
                  <a:xfrm>
                    <a:off x="4953000" y="3058577"/>
                    <a:ext cx="468000" cy="468000"/>
                  </a:xfrm>
                  <a:custGeom>
                    <a:avLst/>
                    <a:gdLst>
                      <a:gd name="T0" fmla="*/ 136 w 385"/>
                      <a:gd name="T1" fmla="*/ 9 h 386"/>
                      <a:gd name="T2" fmla="*/ 56 w 385"/>
                      <a:gd name="T3" fmla="*/ 57 h 386"/>
                      <a:gd name="T4" fmla="*/ 9 w 385"/>
                      <a:gd name="T5" fmla="*/ 136 h 386"/>
                      <a:gd name="T6" fmla="*/ 1 w 385"/>
                      <a:gd name="T7" fmla="*/ 213 h 386"/>
                      <a:gd name="T8" fmla="*/ 33 w 385"/>
                      <a:gd name="T9" fmla="*/ 300 h 386"/>
                      <a:gd name="T10" fmla="*/ 101 w 385"/>
                      <a:gd name="T11" fmla="*/ 363 h 386"/>
                      <a:gd name="T12" fmla="*/ 193 w 385"/>
                      <a:gd name="T13" fmla="*/ 386 h 386"/>
                      <a:gd name="T14" fmla="*/ 268 w 385"/>
                      <a:gd name="T15" fmla="*/ 370 h 386"/>
                      <a:gd name="T16" fmla="*/ 341 w 385"/>
                      <a:gd name="T17" fmla="*/ 315 h 386"/>
                      <a:gd name="T18" fmla="*/ 381 w 385"/>
                      <a:gd name="T19" fmla="*/ 231 h 386"/>
                      <a:gd name="T20" fmla="*/ 381 w 385"/>
                      <a:gd name="T21" fmla="*/ 155 h 386"/>
                      <a:gd name="T22" fmla="*/ 341 w 385"/>
                      <a:gd name="T23" fmla="*/ 71 h 386"/>
                      <a:gd name="T24" fmla="*/ 268 w 385"/>
                      <a:gd name="T25" fmla="*/ 15 h 386"/>
                      <a:gd name="T26" fmla="*/ 193 w 385"/>
                      <a:gd name="T27" fmla="*/ 0 h 386"/>
                      <a:gd name="T28" fmla="*/ 292 w 385"/>
                      <a:gd name="T29" fmla="*/ 138 h 386"/>
                      <a:gd name="T30" fmla="*/ 202 w 385"/>
                      <a:gd name="T31" fmla="*/ 34 h 386"/>
                      <a:gd name="T32" fmla="*/ 217 w 385"/>
                      <a:gd name="T33" fmla="*/ 54 h 386"/>
                      <a:gd name="T34" fmla="*/ 206 w 385"/>
                      <a:gd name="T35" fmla="*/ 81 h 386"/>
                      <a:gd name="T36" fmla="*/ 183 w 385"/>
                      <a:gd name="T37" fmla="*/ 84 h 386"/>
                      <a:gd name="T38" fmla="*/ 164 w 385"/>
                      <a:gd name="T39" fmla="*/ 58 h 386"/>
                      <a:gd name="T40" fmla="*/ 176 w 385"/>
                      <a:gd name="T41" fmla="*/ 37 h 386"/>
                      <a:gd name="T42" fmla="*/ 44 w 385"/>
                      <a:gd name="T43" fmla="*/ 123 h 386"/>
                      <a:gd name="T44" fmla="*/ 44 w 385"/>
                      <a:gd name="T45" fmla="*/ 123 h 386"/>
                      <a:gd name="T46" fmla="*/ 41 w 385"/>
                      <a:gd name="T47" fmla="*/ 256 h 386"/>
                      <a:gd name="T48" fmla="*/ 49 w 385"/>
                      <a:gd name="T49" fmla="*/ 217 h 386"/>
                      <a:gd name="T50" fmla="*/ 84 w 385"/>
                      <a:gd name="T51" fmla="*/ 190 h 386"/>
                      <a:gd name="T52" fmla="*/ 102 w 385"/>
                      <a:gd name="T53" fmla="*/ 167 h 386"/>
                      <a:gd name="T54" fmla="*/ 128 w 385"/>
                      <a:gd name="T55" fmla="*/ 172 h 386"/>
                      <a:gd name="T56" fmla="*/ 168 w 385"/>
                      <a:gd name="T57" fmla="*/ 185 h 386"/>
                      <a:gd name="T58" fmla="*/ 141 w 385"/>
                      <a:gd name="T59" fmla="*/ 201 h 386"/>
                      <a:gd name="T60" fmla="*/ 128 w 385"/>
                      <a:gd name="T61" fmla="*/ 214 h 386"/>
                      <a:gd name="T62" fmla="*/ 98 w 385"/>
                      <a:gd name="T63" fmla="*/ 216 h 386"/>
                      <a:gd name="T64" fmla="*/ 72 w 385"/>
                      <a:gd name="T65" fmla="*/ 216 h 386"/>
                      <a:gd name="T66" fmla="*/ 49 w 385"/>
                      <a:gd name="T67" fmla="*/ 256 h 386"/>
                      <a:gd name="T68" fmla="*/ 119 w 385"/>
                      <a:gd name="T69" fmla="*/ 251 h 386"/>
                      <a:gd name="T70" fmla="*/ 173 w 385"/>
                      <a:gd name="T71" fmla="*/ 224 h 386"/>
                      <a:gd name="T72" fmla="*/ 199 w 385"/>
                      <a:gd name="T73" fmla="*/ 153 h 386"/>
                      <a:gd name="T74" fmla="*/ 185 w 385"/>
                      <a:gd name="T75" fmla="*/ 231 h 386"/>
                      <a:gd name="T76" fmla="*/ 119 w 385"/>
                      <a:gd name="T77" fmla="*/ 266 h 386"/>
                      <a:gd name="T78" fmla="*/ 294 w 385"/>
                      <a:gd name="T79" fmla="*/ 207 h 386"/>
                      <a:gd name="T80" fmla="*/ 277 w 385"/>
                      <a:gd name="T81" fmla="*/ 253 h 386"/>
                      <a:gd name="T82" fmla="*/ 268 w 385"/>
                      <a:gd name="T83" fmla="*/ 283 h 386"/>
                      <a:gd name="T84" fmla="*/ 223 w 385"/>
                      <a:gd name="T85" fmla="*/ 306 h 386"/>
                      <a:gd name="T86" fmla="*/ 199 w 385"/>
                      <a:gd name="T87" fmla="*/ 325 h 386"/>
                      <a:gd name="T88" fmla="*/ 170 w 385"/>
                      <a:gd name="T89" fmla="*/ 317 h 386"/>
                      <a:gd name="T90" fmla="*/ 134 w 385"/>
                      <a:gd name="T91" fmla="*/ 331 h 386"/>
                      <a:gd name="T92" fmla="*/ 122 w 385"/>
                      <a:gd name="T93" fmla="*/ 321 h 386"/>
                      <a:gd name="T94" fmla="*/ 167 w 385"/>
                      <a:gd name="T95" fmla="*/ 286 h 386"/>
                      <a:gd name="T96" fmla="*/ 199 w 385"/>
                      <a:gd name="T97" fmla="*/ 274 h 386"/>
                      <a:gd name="T98" fmla="*/ 223 w 385"/>
                      <a:gd name="T99" fmla="*/ 291 h 386"/>
                      <a:gd name="T100" fmla="*/ 255 w 385"/>
                      <a:gd name="T101" fmla="*/ 274 h 386"/>
                      <a:gd name="T102" fmla="*/ 261 w 385"/>
                      <a:gd name="T103" fmla="*/ 219 h 386"/>
                      <a:gd name="T104" fmla="*/ 212 w 385"/>
                      <a:gd name="T105" fmla="*/ 201 h 386"/>
                      <a:gd name="T106" fmla="*/ 245 w 385"/>
                      <a:gd name="T107" fmla="*/ 185 h 386"/>
                      <a:gd name="T108" fmla="*/ 261 w 385"/>
                      <a:gd name="T109" fmla="*/ 48 h 386"/>
                      <a:gd name="T110" fmla="*/ 284 w 385"/>
                      <a:gd name="T111" fmla="*/ 170 h 386"/>
                      <a:gd name="T112" fmla="*/ 353 w 385"/>
                      <a:gd name="T113" fmla="*/ 185 h 386"/>
                    </a:gdLst>
                    <a:ahLst/>
                    <a:cxnLst>
                      <a:cxn ang="0">
                        <a:pos x="T0" y="T1"/>
                      </a:cxn>
                      <a:cxn ang="0">
                        <a:pos x="T2" y="T3"/>
                      </a:cxn>
                      <a:cxn ang="0">
                        <a:pos x="T4" y="T5"/>
                      </a:cxn>
                      <a:cxn ang="0">
                        <a:pos x="T6" y="T7"/>
                      </a:cxn>
                      <a:cxn ang="0">
                        <a:pos x="T8" y="T9"/>
                      </a:cxn>
                      <a:cxn ang="0">
                        <a:pos x="T10" y="T11"/>
                      </a:cxn>
                      <a:cxn ang="0">
                        <a:pos x="T12" y="T13"/>
                      </a:cxn>
                      <a:cxn ang="0">
                        <a:pos x="T14" y="T15"/>
                      </a:cxn>
                      <a:cxn ang="0">
                        <a:pos x="T16" y="T17"/>
                      </a:cxn>
                      <a:cxn ang="0">
                        <a:pos x="T18" y="T19"/>
                      </a:cxn>
                      <a:cxn ang="0">
                        <a:pos x="T20" y="T21"/>
                      </a:cxn>
                      <a:cxn ang="0">
                        <a:pos x="T22" y="T23"/>
                      </a:cxn>
                      <a:cxn ang="0">
                        <a:pos x="T24" y="T25"/>
                      </a:cxn>
                      <a:cxn ang="0">
                        <a:pos x="T26" y="T27"/>
                      </a:cxn>
                      <a:cxn ang="0">
                        <a:pos x="T28" y="T29"/>
                      </a:cxn>
                      <a:cxn ang="0">
                        <a:pos x="T30" y="T31"/>
                      </a:cxn>
                      <a:cxn ang="0">
                        <a:pos x="T32" y="T33"/>
                      </a:cxn>
                      <a:cxn ang="0">
                        <a:pos x="T34" y="T35"/>
                      </a:cxn>
                      <a:cxn ang="0">
                        <a:pos x="T36" y="T37"/>
                      </a:cxn>
                      <a:cxn ang="0">
                        <a:pos x="T38" y="T39"/>
                      </a:cxn>
                      <a:cxn ang="0">
                        <a:pos x="T40" y="T41"/>
                      </a:cxn>
                      <a:cxn ang="0">
                        <a:pos x="T42" y="T43"/>
                      </a:cxn>
                      <a:cxn ang="0">
                        <a:pos x="T44" y="T45"/>
                      </a:cxn>
                      <a:cxn ang="0">
                        <a:pos x="T46" y="T47"/>
                      </a:cxn>
                      <a:cxn ang="0">
                        <a:pos x="T48" y="T49"/>
                      </a:cxn>
                      <a:cxn ang="0">
                        <a:pos x="T50" y="T51"/>
                      </a:cxn>
                      <a:cxn ang="0">
                        <a:pos x="T52" y="T53"/>
                      </a:cxn>
                      <a:cxn ang="0">
                        <a:pos x="T54" y="T55"/>
                      </a:cxn>
                      <a:cxn ang="0">
                        <a:pos x="T56" y="T57"/>
                      </a:cxn>
                      <a:cxn ang="0">
                        <a:pos x="T58" y="T59"/>
                      </a:cxn>
                      <a:cxn ang="0">
                        <a:pos x="T60" y="T61"/>
                      </a:cxn>
                      <a:cxn ang="0">
                        <a:pos x="T62" y="T63"/>
                      </a:cxn>
                      <a:cxn ang="0">
                        <a:pos x="T64" y="T65"/>
                      </a:cxn>
                      <a:cxn ang="0">
                        <a:pos x="T66" y="T67"/>
                      </a:cxn>
                      <a:cxn ang="0">
                        <a:pos x="T68" y="T69"/>
                      </a:cxn>
                      <a:cxn ang="0">
                        <a:pos x="T70" y="T71"/>
                      </a:cxn>
                      <a:cxn ang="0">
                        <a:pos x="T72" y="T73"/>
                      </a:cxn>
                      <a:cxn ang="0">
                        <a:pos x="T74" y="T75"/>
                      </a:cxn>
                      <a:cxn ang="0">
                        <a:pos x="T76" y="T77"/>
                      </a:cxn>
                      <a:cxn ang="0">
                        <a:pos x="T78" y="T79"/>
                      </a:cxn>
                      <a:cxn ang="0">
                        <a:pos x="T80" y="T81"/>
                      </a:cxn>
                      <a:cxn ang="0">
                        <a:pos x="T82" y="T83"/>
                      </a:cxn>
                      <a:cxn ang="0">
                        <a:pos x="T84" y="T85"/>
                      </a:cxn>
                      <a:cxn ang="0">
                        <a:pos x="T86" y="T87"/>
                      </a:cxn>
                      <a:cxn ang="0">
                        <a:pos x="T88" y="T89"/>
                      </a:cxn>
                      <a:cxn ang="0">
                        <a:pos x="T90" y="T91"/>
                      </a:cxn>
                      <a:cxn ang="0">
                        <a:pos x="T92" y="T93"/>
                      </a:cxn>
                      <a:cxn ang="0">
                        <a:pos x="T94" y="T95"/>
                      </a:cxn>
                      <a:cxn ang="0">
                        <a:pos x="T96" y="T97"/>
                      </a:cxn>
                      <a:cxn ang="0">
                        <a:pos x="T98" y="T99"/>
                      </a:cxn>
                      <a:cxn ang="0">
                        <a:pos x="T100" y="T101"/>
                      </a:cxn>
                      <a:cxn ang="0">
                        <a:pos x="T102" y="T103"/>
                      </a:cxn>
                      <a:cxn ang="0">
                        <a:pos x="T104" y="T105"/>
                      </a:cxn>
                      <a:cxn ang="0">
                        <a:pos x="T106" y="T107"/>
                      </a:cxn>
                      <a:cxn ang="0">
                        <a:pos x="T108" y="T109"/>
                      </a:cxn>
                      <a:cxn ang="0">
                        <a:pos x="T110" y="T111"/>
                      </a:cxn>
                      <a:cxn ang="0">
                        <a:pos x="T112" y="T113"/>
                      </a:cxn>
                    </a:cxnLst>
                    <a:rect l="0" t="0" r="r" b="b"/>
                    <a:pathLst>
                      <a:path w="385" h="386">
                        <a:moveTo>
                          <a:pt x="193" y="0"/>
                        </a:moveTo>
                        <a:lnTo>
                          <a:pt x="193" y="0"/>
                        </a:lnTo>
                        <a:lnTo>
                          <a:pt x="173" y="2"/>
                        </a:lnTo>
                        <a:lnTo>
                          <a:pt x="154" y="5"/>
                        </a:lnTo>
                        <a:lnTo>
                          <a:pt x="136" y="9"/>
                        </a:lnTo>
                        <a:lnTo>
                          <a:pt x="118" y="15"/>
                        </a:lnTo>
                        <a:lnTo>
                          <a:pt x="101" y="23"/>
                        </a:lnTo>
                        <a:lnTo>
                          <a:pt x="86" y="34"/>
                        </a:lnTo>
                        <a:lnTo>
                          <a:pt x="70" y="45"/>
                        </a:lnTo>
                        <a:lnTo>
                          <a:pt x="56" y="57"/>
                        </a:lnTo>
                        <a:lnTo>
                          <a:pt x="44" y="71"/>
                        </a:lnTo>
                        <a:lnTo>
                          <a:pt x="33" y="86"/>
                        </a:lnTo>
                        <a:lnTo>
                          <a:pt x="23" y="101"/>
                        </a:lnTo>
                        <a:lnTo>
                          <a:pt x="15" y="118"/>
                        </a:lnTo>
                        <a:lnTo>
                          <a:pt x="9" y="136"/>
                        </a:lnTo>
                        <a:lnTo>
                          <a:pt x="4" y="155"/>
                        </a:lnTo>
                        <a:lnTo>
                          <a:pt x="1" y="173"/>
                        </a:lnTo>
                        <a:lnTo>
                          <a:pt x="0" y="193"/>
                        </a:lnTo>
                        <a:lnTo>
                          <a:pt x="0" y="193"/>
                        </a:lnTo>
                        <a:lnTo>
                          <a:pt x="1" y="213"/>
                        </a:lnTo>
                        <a:lnTo>
                          <a:pt x="4" y="231"/>
                        </a:lnTo>
                        <a:lnTo>
                          <a:pt x="9" y="250"/>
                        </a:lnTo>
                        <a:lnTo>
                          <a:pt x="15" y="268"/>
                        </a:lnTo>
                        <a:lnTo>
                          <a:pt x="23" y="285"/>
                        </a:lnTo>
                        <a:lnTo>
                          <a:pt x="33" y="300"/>
                        </a:lnTo>
                        <a:lnTo>
                          <a:pt x="44" y="315"/>
                        </a:lnTo>
                        <a:lnTo>
                          <a:pt x="56" y="329"/>
                        </a:lnTo>
                        <a:lnTo>
                          <a:pt x="70" y="341"/>
                        </a:lnTo>
                        <a:lnTo>
                          <a:pt x="86" y="352"/>
                        </a:lnTo>
                        <a:lnTo>
                          <a:pt x="101" y="363"/>
                        </a:lnTo>
                        <a:lnTo>
                          <a:pt x="118" y="370"/>
                        </a:lnTo>
                        <a:lnTo>
                          <a:pt x="136" y="377"/>
                        </a:lnTo>
                        <a:lnTo>
                          <a:pt x="154" y="381"/>
                        </a:lnTo>
                        <a:lnTo>
                          <a:pt x="173" y="384"/>
                        </a:lnTo>
                        <a:lnTo>
                          <a:pt x="193" y="386"/>
                        </a:lnTo>
                        <a:lnTo>
                          <a:pt x="193" y="386"/>
                        </a:lnTo>
                        <a:lnTo>
                          <a:pt x="212" y="384"/>
                        </a:lnTo>
                        <a:lnTo>
                          <a:pt x="231" y="381"/>
                        </a:lnTo>
                        <a:lnTo>
                          <a:pt x="249" y="377"/>
                        </a:lnTo>
                        <a:lnTo>
                          <a:pt x="268" y="370"/>
                        </a:lnTo>
                        <a:lnTo>
                          <a:pt x="284" y="363"/>
                        </a:lnTo>
                        <a:lnTo>
                          <a:pt x="300" y="352"/>
                        </a:lnTo>
                        <a:lnTo>
                          <a:pt x="315" y="341"/>
                        </a:lnTo>
                        <a:lnTo>
                          <a:pt x="329" y="329"/>
                        </a:lnTo>
                        <a:lnTo>
                          <a:pt x="341" y="315"/>
                        </a:lnTo>
                        <a:lnTo>
                          <a:pt x="352" y="300"/>
                        </a:lnTo>
                        <a:lnTo>
                          <a:pt x="362" y="285"/>
                        </a:lnTo>
                        <a:lnTo>
                          <a:pt x="370" y="268"/>
                        </a:lnTo>
                        <a:lnTo>
                          <a:pt x="376" y="250"/>
                        </a:lnTo>
                        <a:lnTo>
                          <a:pt x="381" y="231"/>
                        </a:lnTo>
                        <a:lnTo>
                          <a:pt x="384" y="213"/>
                        </a:lnTo>
                        <a:lnTo>
                          <a:pt x="385" y="193"/>
                        </a:lnTo>
                        <a:lnTo>
                          <a:pt x="385" y="193"/>
                        </a:lnTo>
                        <a:lnTo>
                          <a:pt x="384" y="173"/>
                        </a:lnTo>
                        <a:lnTo>
                          <a:pt x="381" y="155"/>
                        </a:lnTo>
                        <a:lnTo>
                          <a:pt x="376" y="136"/>
                        </a:lnTo>
                        <a:lnTo>
                          <a:pt x="370" y="118"/>
                        </a:lnTo>
                        <a:lnTo>
                          <a:pt x="362" y="101"/>
                        </a:lnTo>
                        <a:lnTo>
                          <a:pt x="352" y="86"/>
                        </a:lnTo>
                        <a:lnTo>
                          <a:pt x="341" y="71"/>
                        </a:lnTo>
                        <a:lnTo>
                          <a:pt x="329" y="57"/>
                        </a:lnTo>
                        <a:lnTo>
                          <a:pt x="315" y="45"/>
                        </a:lnTo>
                        <a:lnTo>
                          <a:pt x="300" y="34"/>
                        </a:lnTo>
                        <a:lnTo>
                          <a:pt x="284" y="23"/>
                        </a:lnTo>
                        <a:lnTo>
                          <a:pt x="268" y="15"/>
                        </a:lnTo>
                        <a:lnTo>
                          <a:pt x="249" y="9"/>
                        </a:lnTo>
                        <a:lnTo>
                          <a:pt x="231" y="5"/>
                        </a:lnTo>
                        <a:lnTo>
                          <a:pt x="212" y="2"/>
                        </a:lnTo>
                        <a:lnTo>
                          <a:pt x="193" y="0"/>
                        </a:lnTo>
                        <a:lnTo>
                          <a:pt x="193" y="0"/>
                        </a:lnTo>
                        <a:close/>
                        <a:moveTo>
                          <a:pt x="292" y="123"/>
                        </a:moveTo>
                        <a:lnTo>
                          <a:pt x="338" y="123"/>
                        </a:lnTo>
                        <a:lnTo>
                          <a:pt x="338" y="123"/>
                        </a:lnTo>
                        <a:lnTo>
                          <a:pt x="344" y="138"/>
                        </a:lnTo>
                        <a:lnTo>
                          <a:pt x="292" y="138"/>
                        </a:lnTo>
                        <a:lnTo>
                          <a:pt x="292" y="123"/>
                        </a:lnTo>
                        <a:close/>
                        <a:moveTo>
                          <a:pt x="191" y="32"/>
                        </a:moveTo>
                        <a:lnTo>
                          <a:pt x="191" y="32"/>
                        </a:lnTo>
                        <a:lnTo>
                          <a:pt x="196" y="32"/>
                        </a:lnTo>
                        <a:lnTo>
                          <a:pt x="202" y="34"/>
                        </a:lnTo>
                        <a:lnTo>
                          <a:pt x="206" y="37"/>
                        </a:lnTo>
                        <a:lnTo>
                          <a:pt x="209" y="40"/>
                        </a:lnTo>
                        <a:lnTo>
                          <a:pt x="212" y="45"/>
                        </a:lnTo>
                        <a:lnTo>
                          <a:pt x="216" y="49"/>
                        </a:lnTo>
                        <a:lnTo>
                          <a:pt x="217" y="54"/>
                        </a:lnTo>
                        <a:lnTo>
                          <a:pt x="217" y="58"/>
                        </a:lnTo>
                        <a:lnTo>
                          <a:pt x="217" y="58"/>
                        </a:lnTo>
                        <a:lnTo>
                          <a:pt x="217" y="67"/>
                        </a:lnTo>
                        <a:lnTo>
                          <a:pt x="212" y="75"/>
                        </a:lnTo>
                        <a:lnTo>
                          <a:pt x="206" y="81"/>
                        </a:lnTo>
                        <a:lnTo>
                          <a:pt x="199" y="84"/>
                        </a:lnTo>
                        <a:lnTo>
                          <a:pt x="199" y="107"/>
                        </a:lnTo>
                        <a:lnTo>
                          <a:pt x="183" y="107"/>
                        </a:lnTo>
                        <a:lnTo>
                          <a:pt x="183" y="84"/>
                        </a:lnTo>
                        <a:lnTo>
                          <a:pt x="183" y="84"/>
                        </a:lnTo>
                        <a:lnTo>
                          <a:pt x="176" y="81"/>
                        </a:lnTo>
                        <a:lnTo>
                          <a:pt x="170" y="75"/>
                        </a:lnTo>
                        <a:lnTo>
                          <a:pt x="165" y="67"/>
                        </a:lnTo>
                        <a:lnTo>
                          <a:pt x="164" y="58"/>
                        </a:lnTo>
                        <a:lnTo>
                          <a:pt x="164" y="58"/>
                        </a:lnTo>
                        <a:lnTo>
                          <a:pt x="164" y="54"/>
                        </a:lnTo>
                        <a:lnTo>
                          <a:pt x="165" y="49"/>
                        </a:lnTo>
                        <a:lnTo>
                          <a:pt x="168" y="45"/>
                        </a:lnTo>
                        <a:lnTo>
                          <a:pt x="171" y="40"/>
                        </a:lnTo>
                        <a:lnTo>
                          <a:pt x="176" y="37"/>
                        </a:lnTo>
                        <a:lnTo>
                          <a:pt x="180" y="34"/>
                        </a:lnTo>
                        <a:lnTo>
                          <a:pt x="185" y="32"/>
                        </a:lnTo>
                        <a:lnTo>
                          <a:pt x="191" y="32"/>
                        </a:lnTo>
                        <a:lnTo>
                          <a:pt x="191" y="32"/>
                        </a:lnTo>
                        <a:close/>
                        <a:moveTo>
                          <a:pt x="44" y="123"/>
                        </a:moveTo>
                        <a:lnTo>
                          <a:pt x="246" y="123"/>
                        </a:lnTo>
                        <a:lnTo>
                          <a:pt x="246" y="138"/>
                        </a:lnTo>
                        <a:lnTo>
                          <a:pt x="38" y="138"/>
                        </a:lnTo>
                        <a:lnTo>
                          <a:pt x="38" y="138"/>
                        </a:lnTo>
                        <a:lnTo>
                          <a:pt x="44" y="123"/>
                        </a:lnTo>
                        <a:lnTo>
                          <a:pt x="44" y="123"/>
                        </a:lnTo>
                        <a:close/>
                        <a:moveTo>
                          <a:pt x="49" y="265"/>
                        </a:moveTo>
                        <a:lnTo>
                          <a:pt x="49" y="269"/>
                        </a:lnTo>
                        <a:lnTo>
                          <a:pt x="49" y="269"/>
                        </a:lnTo>
                        <a:lnTo>
                          <a:pt x="41" y="256"/>
                        </a:lnTo>
                        <a:lnTo>
                          <a:pt x="37" y="242"/>
                        </a:lnTo>
                        <a:lnTo>
                          <a:pt x="37" y="242"/>
                        </a:lnTo>
                        <a:lnTo>
                          <a:pt x="40" y="233"/>
                        </a:lnTo>
                        <a:lnTo>
                          <a:pt x="44" y="225"/>
                        </a:lnTo>
                        <a:lnTo>
                          <a:pt x="49" y="217"/>
                        </a:lnTo>
                        <a:lnTo>
                          <a:pt x="55" y="210"/>
                        </a:lnTo>
                        <a:lnTo>
                          <a:pt x="61" y="204"/>
                        </a:lnTo>
                        <a:lnTo>
                          <a:pt x="69" y="199"/>
                        </a:lnTo>
                        <a:lnTo>
                          <a:pt x="76" y="194"/>
                        </a:lnTo>
                        <a:lnTo>
                          <a:pt x="84" y="190"/>
                        </a:lnTo>
                        <a:lnTo>
                          <a:pt x="84" y="190"/>
                        </a:lnTo>
                        <a:lnTo>
                          <a:pt x="86" y="185"/>
                        </a:lnTo>
                        <a:lnTo>
                          <a:pt x="87" y="181"/>
                        </a:lnTo>
                        <a:lnTo>
                          <a:pt x="93" y="173"/>
                        </a:lnTo>
                        <a:lnTo>
                          <a:pt x="102" y="167"/>
                        </a:lnTo>
                        <a:lnTo>
                          <a:pt x="107" y="167"/>
                        </a:lnTo>
                        <a:lnTo>
                          <a:pt x="112" y="165"/>
                        </a:lnTo>
                        <a:lnTo>
                          <a:pt x="112" y="165"/>
                        </a:lnTo>
                        <a:lnTo>
                          <a:pt x="121" y="167"/>
                        </a:lnTo>
                        <a:lnTo>
                          <a:pt x="128" y="172"/>
                        </a:lnTo>
                        <a:lnTo>
                          <a:pt x="134" y="178"/>
                        </a:lnTo>
                        <a:lnTo>
                          <a:pt x="138" y="185"/>
                        </a:lnTo>
                        <a:lnTo>
                          <a:pt x="138" y="185"/>
                        </a:lnTo>
                        <a:lnTo>
                          <a:pt x="141" y="185"/>
                        </a:lnTo>
                        <a:lnTo>
                          <a:pt x="168" y="185"/>
                        </a:lnTo>
                        <a:lnTo>
                          <a:pt x="168" y="187"/>
                        </a:lnTo>
                        <a:lnTo>
                          <a:pt x="168" y="187"/>
                        </a:lnTo>
                        <a:lnTo>
                          <a:pt x="167" y="194"/>
                        </a:lnTo>
                        <a:lnTo>
                          <a:pt x="165" y="201"/>
                        </a:lnTo>
                        <a:lnTo>
                          <a:pt x="141" y="201"/>
                        </a:lnTo>
                        <a:lnTo>
                          <a:pt x="141" y="201"/>
                        </a:lnTo>
                        <a:lnTo>
                          <a:pt x="138" y="201"/>
                        </a:lnTo>
                        <a:lnTo>
                          <a:pt x="138" y="201"/>
                        </a:lnTo>
                        <a:lnTo>
                          <a:pt x="134" y="208"/>
                        </a:lnTo>
                        <a:lnTo>
                          <a:pt x="128" y="214"/>
                        </a:lnTo>
                        <a:lnTo>
                          <a:pt x="121" y="219"/>
                        </a:lnTo>
                        <a:lnTo>
                          <a:pt x="112" y="221"/>
                        </a:lnTo>
                        <a:lnTo>
                          <a:pt x="112" y="221"/>
                        </a:lnTo>
                        <a:lnTo>
                          <a:pt x="104" y="219"/>
                        </a:lnTo>
                        <a:lnTo>
                          <a:pt x="98" y="216"/>
                        </a:lnTo>
                        <a:lnTo>
                          <a:pt x="92" y="211"/>
                        </a:lnTo>
                        <a:lnTo>
                          <a:pt x="87" y="205"/>
                        </a:lnTo>
                        <a:lnTo>
                          <a:pt x="87" y="205"/>
                        </a:lnTo>
                        <a:lnTo>
                          <a:pt x="79" y="210"/>
                        </a:lnTo>
                        <a:lnTo>
                          <a:pt x="72" y="216"/>
                        </a:lnTo>
                        <a:lnTo>
                          <a:pt x="66" y="222"/>
                        </a:lnTo>
                        <a:lnTo>
                          <a:pt x="60" y="228"/>
                        </a:lnTo>
                        <a:lnTo>
                          <a:pt x="55" y="237"/>
                        </a:lnTo>
                        <a:lnTo>
                          <a:pt x="52" y="245"/>
                        </a:lnTo>
                        <a:lnTo>
                          <a:pt x="49" y="256"/>
                        </a:lnTo>
                        <a:lnTo>
                          <a:pt x="49" y="265"/>
                        </a:lnTo>
                        <a:lnTo>
                          <a:pt x="49" y="265"/>
                        </a:lnTo>
                        <a:close/>
                        <a:moveTo>
                          <a:pt x="64" y="251"/>
                        </a:moveTo>
                        <a:lnTo>
                          <a:pt x="119" y="251"/>
                        </a:lnTo>
                        <a:lnTo>
                          <a:pt x="119" y="251"/>
                        </a:lnTo>
                        <a:lnTo>
                          <a:pt x="131" y="250"/>
                        </a:lnTo>
                        <a:lnTo>
                          <a:pt x="144" y="247"/>
                        </a:lnTo>
                        <a:lnTo>
                          <a:pt x="154" y="240"/>
                        </a:lnTo>
                        <a:lnTo>
                          <a:pt x="164" y="233"/>
                        </a:lnTo>
                        <a:lnTo>
                          <a:pt x="173" y="224"/>
                        </a:lnTo>
                        <a:lnTo>
                          <a:pt x="177" y="211"/>
                        </a:lnTo>
                        <a:lnTo>
                          <a:pt x="182" y="201"/>
                        </a:lnTo>
                        <a:lnTo>
                          <a:pt x="183" y="187"/>
                        </a:lnTo>
                        <a:lnTo>
                          <a:pt x="183" y="153"/>
                        </a:lnTo>
                        <a:lnTo>
                          <a:pt x="199" y="153"/>
                        </a:lnTo>
                        <a:lnTo>
                          <a:pt x="199" y="187"/>
                        </a:lnTo>
                        <a:lnTo>
                          <a:pt x="199" y="187"/>
                        </a:lnTo>
                        <a:lnTo>
                          <a:pt x="197" y="204"/>
                        </a:lnTo>
                        <a:lnTo>
                          <a:pt x="193" y="217"/>
                        </a:lnTo>
                        <a:lnTo>
                          <a:pt x="185" y="231"/>
                        </a:lnTo>
                        <a:lnTo>
                          <a:pt x="174" y="243"/>
                        </a:lnTo>
                        <a:lnTo>
                          <a:pt x="164" y="253"/>
                        </a:lnTo>
                        <a:lnTo>
                          <a:pt x="150" y="260"/>
                        </a:lnTo>
                        <a:lnTo>
                          <a:pt x="134" y="265"/>
                        </a:lnTo>
                        <a:lnTo>
                          <a:pt x="119" y="266"/>
                        </a:lnTo>
                        <a:lnTo>
                          <a:pt x="64" y="266"/>
                        </a:lnTo>
                        <a:lnTo>
                          <a:pt x="64" y="251"/>
                        </a:lnTo>
                        <a:close/>
                        <a:moveTo>
                          <a:pt x="295" y="201"/>
                        </a:moveTo>
                        <a:lnTo>
                          <a:pt x="295" y="201"/>
                        </a:lnTo>
                        <a:lnTo>
                          <a:pt x="294" y="207"/>
                        </a:lnTo>
                        <a:lnTo>
                          <a:pt x="289" y="211"/>
                        </a:lnTo>
                        <a:lnTo>
                          <a:pt x="284" y="216"/>
                        </a:lnTo>
                        <a:lnTo>
                          <a:pt x="277" y="219"/>
                        </a:lnTo>
                        <a:lnTo>
                          <a:pt x="277" y="253"/>
                        </a:lnTo>
                        <a:lnTo>
                          <a:pt x="277" y="253"/>
                        </a:lnTo>
                        <a:lnTo>
                          <a:pt x="277" y="253"/>
                        </a:lnTo>
                        <a:lnTo>
                          <a:pt x="277" y="253"/>
                        </a:lnTo>
                        <a:lnTo>
                          <a:pt x="277" y="263"/>
                        </a:lnTo>
                        <a:lnTo>
                          <a:pt x="274" y="274"/>
                        </a:lnTo>
                        <a:lnTo>
                          <a:pt x="268" y="283"/>
                        </a:lnTo>
                        <a:lnTo>
                          <a:pt x="261" y="291"/>
                        </a:lnTo>
                        <a:lnTo>
                          <a:pt x="254" y="297"/>
                        </a:lnTo>
                        <a:lnTo>
                          <a:pt x="245" y="303"/>
                        </a:lnTo>
                        <a:lnTo>
                          <a:pt x="234" y="306"/>
                        </a:lnTo>
                        <a:lnTo>
                          <a:pt x="223" y="306"/>
                        </a:lnTo>
                        <a:lnTo>
                          <a:pt x="216" y="306"/>
                        </a:lnTo>
                        <a:lnTo>
                          <a:pt x="216" y="306"/>
                        </a:lnTo>
                        <a:lnTo>
                          <a:pt x="212" y="315"/>
                        </a:lnTo>
                        <a:lnTo>
                          <a:pt x="206" y="321"/>
                        </a:lnTo>
                        <a:lnTo>
                          <a:pt x="199" y="325"/>
                        </a:lnTo>
                        <a:lnTo>
                          <a:pt x="190" y="326"/>
                        </a:lnTo>
                        <a:lnTo>
                          <a:pt x="190" y="326"/>
                        </a:lnTo>
                        <a:lnTo>
                          <a:pt x="182" y="325"/>
                        </a:lnTo>
                        <a:lnTo>
                          <a:pt x="176" y="321"/>
                        </a:lnTo>
                        <a:lnTo>
                          <a:pt x="170" y="317"/>
                        </a:lnTo>
                        <a:lnTo>
                          <a:pt x="165" y="309"/>
                        </a:lnTo>
                        <a:lnTo>
                          <a:pt x="165" y="309"/>
                        </a:lnTo>
                        <a:lnTo>
                          <a:pt x="153" y="315"/>
                        </a:lnTo>
                        <a:lnTo>
                          <a:pt x="144" y="321"/>
                        </a:lnTo>
                        <a:lnTo>
                          <a:pt x="134" y="331"/>
                        </a:lnTo>
                        <a:lnTo>
                          <a:pt x="127" y="341"/>
                        </a:lnTo>
                        <a:lnTo>
                          <a:pt x="127" y="341"/>
                        </a:lnTo>
                        <a:lnTo>
                          <a:pt x="113" y="335"/>
                        </a:lnTo>
                        <a:lnTo>
                          <a:pt x="113" y="335"/>
                        </a:lnTo>
                        <a:lnTo>
                          <a:pt x="122" y="321"/>
                        </a:lnTo>
                        <a:lnTo>
                          <a:pt x="134" y="309"/>
                        </a:lnTo>
                        <a:lnTo>
                          <a:pt x="148" y="300"/>
                        </a:lnTo>
                        <a:lnTo>
                          <a:pt x="164" y="294"/>
                        </a:lnTo>
                        <a:lnTo>
                          <a:pt x="164" y="294"/>
                        </a:lnTo>
                        <a:lnTo>
                          <a:pt x="167" y="286"/>
                        </a:lnTo>
                        <a:lnTo>
                          <a:pt x="173" y="279"/>
                        </a:lnTo>
                        <a:lnTo>
                          <a:pt x="180" y="274"/>
                        </a:lnTo>
                        <a:lnTo>
                          <a:pt x="190" y="273"/>
                        </a:lnTo>
                        <a:lnTo>
                          <a:pt x="190" y="273"/>
                        </a:lnTo>
                        <a:lnTo>
                          <a:pt x="199" y="274"/>
                        </a:lnTo>
                        <a:lnTo>
                          <a:pt x="206" y="277"/>
                        </a:lnTo>
                        <a:lnTo>
                          <a:pt x="212" y="283"/>
                        </a:lnTo>
                        <a:lnTo>
                          <a:pt x="216" y="291"/>
                        </a:lnTo>
                        <a:lnTo>
                          <a:pt x="223" y="291"/>
                        </a:lnTo>
                        <a:lnTo>
                          <a:pt x="223" y="291"/>
                        </a:lnTo>
                        <a:lnTo>
                          <a:pt x="231" y="291"/>
                        </a:lnTo>
                        <a:lnTo>
                          <a:pt x="239" y="288"/>
                        </a:lnTo>
                        <a:lnTo>
                          <a:pt x="245" y="285"/>
                        </a:lnTo>
                        <a:lnTo>
                          <a:pt x="251" y="280"/>
                        </a:lnTo>
                        <a:lnTo>
                          <a:pt x="255" y="274"/>
                        </a:lnTo>
                        <a:lnTo>
                          <a:pt x="258" y="268"/>
                        </a:lnTo>
                        <a:lnTo>
                          <a:pt x="261" y="260"/>
                        </a:lnTo>
                        <a:lnTo>
                          <a:pt x="261" y="253"/>
                        </a:lnTo>
                        <a:lnTo>
                          <a:pt x="261" y="219"/>
                        </a:lnTo>
                        <a:lnTo>
                          <a:pt x="261" y="219"/>
                        </a:lnTo>
                        <a:lnTo>
                          <a:pt x="255" y="216"/>
                        </a:lnTo>
                        <a:lnTo>
                          <a:pt x="251" y="211"/>
                        </a:lnTo>
                        <a:lnTo>
                          <a:pt x="246" y="207"/>
                        </a:lnTo>
                        <a:lnTo>
                          <a:pt x="245" y="201"/>
                        </a:lnTo>
                        <a:lnTo>
                          <a:pt x="212" y="201"/>
                        </a:lnTo>
                        <a:lnTo>
                          <a:pt x="212" y="201"/>
                        </a:lnTo>
                        <a:lnTo>
                          <a:pt x="214" y="187"/>
                        </a:lnTo>
                        <a:lnTo>
                          <a:pt x="214" y="185"/>
                        </a:lnTo>
                        <a:lnTo>
                          <a:pt x="245" y="185"/>
                        </a:lnTo>
                        <a:lnTo>
                          <a:pt x="245" y="185"/>
                        </a:lnTo>
                        <a:lnTo>
                          <a:pt x="246" y="179"/>
                        </a:lnTo>
                        <a:lnTo>
                          <a:pt x="251" y="173"/>
                        </a:lnTo>
                        <a:lnTo>
                          <a:pt x="255" y="170"/>
                        </a:lnTo>
                        <a:lnTo>
                          <a:pt x="261" y="167"/>
                        </a:lnTo>
                        <a:lnTo>
                          <a:pt x="261" y="48"/>
                        </a:lnTo>
                        <a:lnTo>
                          <a:pt x="261" y="48"/>
                        </a:lnTo>
                        <a:lnTo>
                          <a:pt x="277" y="55"/>
                        </a:lnTo>
                        <a:lnTo>
                          <a:pt x="277" y="167"/>
                        </a:lnTo>
                        <a:lnTo>
                          <a:pt x="277" y="167"/>
                        </a:lnTo>
                        <a:lnTo>
                          <a:pt x="284" y="170"/>
                        </a:lnTo>
                        <a:lnTo>
                          <a:pt x="289" y="173"/>
                        </a:lnTo>
                        <a:lnTo>
                          <a:pt x="294" y="179"/>
                        </a:lnTo>
                        <a:lnTo>
                          <a:pt x="295" y="185"/>
                        </a:lnTo>
                        <a:lnTo>
                          <a:pt x="353" y="185"/>
                        </a:lnTo>
                        <a:lnTo>
                          <a:pt x="353" y="185"/>
                        </a:lnTo>
                        <a:lnTo>
                          <a:pt x="353" y="193"/>
                        </a:lnTo>
                        <a:lnTo>
                          <a:pt x="353" y="193"/>
                        </a:lnTo>
                        <a:lnTo>
                          <a:pt x="353" y="201"/>
                        </a:lnTo>
                        <a:lnTo>
                          <a:pt x="295" y="201"/>
                        </a:lnTo>
                        <a:close/>
                      </a:path>
                    </a:pathLst>
                  </a:custGeom>
                  <a:solidFill>
                    <a:srgbClr val="002060"/>
                  </a:solidFill>
                  <a:ln>
                    <a:noFill/>
                  </a:ln>
                  <a:extLst/>
                </p:spPr>
                <p:txBody>
                  <a:bodyPr vert="horz" wrap="square" lIns="91440" tIns="45720" rIns="91440" bIns="45720" numCol="1" anchor="t" anchorCtr="0" compatLnSpc="1">
                    <a:prstTxWarp prst="textNoShape">
                      <a:avLst/>
                    </a:prstTxWarp>
                  </a:bodyPr>
                  <a:lstStyle/>
                  <a:p>
                    <a:pPr marL="0" marR="0" lvl="0" indent="0" defTabSz="91440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GB" sz="1800" b="0" i="0" u="none" strike="noStrike" kern="0" cap="none" spc="0" normalizeH="0" baseline="0" noProof="0" smtClean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Calibri" panose="020F0502020204030204"/>
                    </a:endParaRPr>
                  </a:p>
                </p:txBody>
              </p:sp>
            </p:grpSp>
            <p:sp>
              <p:nvSpPr>
                <p:cNvPr id="57" name="TextBox 56"/>
                <p:cNvSpPr txBox="1"/>
                <p:nvPr/>
              </p:nvSpPr>
              <p:spPr>
                <a:xfrm>
                  <a:off x="2411946" y="4109697"/>
                  <a:ext cx="1200294" cy="1795446"/>
                </a:xfrm>
                <a:prstGeom prst="rect">
                  <a:avLst/>
                </a:prstGeom>
                <a:noFill/>
              </p:spPr>
              <p:txBody>
                <a:bodyPr spcFirstLastPara="1" lIns="0" tIns="0" rIns="0" bIns="0" anchor="ctr">
                  <a:prstTxWarp prst="textArchUp">
                    <a:avLst>
                      <a:gd name="adj" fmla="val 10303364"/>
                    </a:avLst>
                  </a:prstTxWarp>
                </a:bodyPr>
                <a:lstStyle/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9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GB" sz="1400" b="1" i="0" u="none" strike="noStrike" kern="0" cap="none" spc="0" normalizeH="0" baseline="0" noProof="0" dirty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Georgia" pitchFamily="18" charset="0"/>
                    </a:rPr>
                    <a:t>Plataforma </a:t>
                  </a:r>
                  <a:r>
                    <a:rPr kumimoji="0" lang="en-GB" sz="14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Georgia" pitchFamily="18" charset="0"/>
                    </a:rPr>
                    <a:t>Certificación</a:t>
                  </a:r>
                  <a:endParaRPr lang="en-GB" sz="1400" b="1" kern="0" dirty="0">
                    <a:solidFill>
                      <a:srgbClr val="002060"/>
                    </a:solidFill>
                    <a:latin typeface="Georgia" pitchFamily="18" charset="0"/>
                  </a:endParaRPr>
                </a:p>
                <a:p>
                  <a:pPr marL="0" marR="0" lvl="0" indent="0" algn="ctr" defTabSz="91440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90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lang="en-GB" sz="1400" b="1" kern="0" noProof="0" dirty="0" smtClean="0">
                      <a:solidFill>
                        <a:srgbClr val="002060"/>
                      </a:solidFill>
                      <a:latin typeface="Georgia" pitchFamily="18" charset="0"/>
                    </a:rPr>
                    <a:t>d</a:t>
                  </a:r>
                  <a:r>
                    <a:rPr kumimoji="0" lang="en-GB" sz="1400" b="1" i="0" u="none" strike="noStrike" kern="0" cap="none" spc="0" normalizeH="0" baseline="0" noProof="0" dirty="0" smtClean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Georgia" pitchFamily="18" charset="0"/>
                    </a:rPr>
                    <a:t>e</a:t>
                  </a:r>
                  <a:r>
                    <a:rPr kumimoji="0" lang="en-GB" sz="1400" b="1" i="0" u="none" strike="noStrike" kern="0" cap="none" spc="0" normalizeH="0" noProof="0" dirty="0" smtClean="0">
                      <a:ln>
                        <a:noFill/>
                      </a:ln>
                      <a:solidFill>
                        <a:srgbClr val="002060"/>
                      </a:solidFill>
                      <a:effectLst/>
                      <a:uLnTx/>
                      <a:uFillTx/>
                      <a:latin typeface="Georgia" pitchFamily="18" charset="0"/>
                    </a:rPr>
                    <a:t> Envíos</a:t>
                  </a:r>
                  <a:endParaRPr kumimoji="0" lang="en-GB" sz="1400" b="1" i="0" u="none" strike="noStrike" kern="0" cap="none" spc="0" normalizeH="0" baseline="0" noProof="0" dirty="0">
                    <a:ln>
                      <a:noFill/>
                    </a:ln>
                    <a:solidFill>
                      <a:srgbClr val="002060"/>
                    </a:solidFill>
                    <a:effectLst/>
                    <a:uLnTx/>
                    <a:uFillTx/>
                    <a:latin typeface="Georgia" pitchFamily="18" charset="0"/>
                  </a:endParaRPr>
                </a:p>
              </p:txBody>
            </p:sp>
          </p:grpSp>
          <p:pic>
            <p:nvPicPr>
              <p:cNvPr id="55" name="Picture 54"/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5294940" y="6466660"/>
                <a:ext cx="1475526" cy="377438"/>
              </a:xfrm>
              <a:prstGeom prst="rect">
                <a:avLst/>
              </a:prstGeom>
            </p:spPr>
          </p:pic>
        </p:grpSp>
        <p:sp>
          <p:nvSpPr>
            <p:cNvPr id="53" name="82 CuadroTexto"/>
            <p:cNvSpPr txBox="1"/>
            <p:nvPr/>
          </p:nvSpPr>
          <p:spPr>
            <a:xfrm>
              <a:off x="7050761" y="6367110"/>
              <a:ext cx="1286792" cy="244146"/>
            </a:xfrm>
            <a:prstGeom prst="rect">
              <a:avLst/>
            </a:prstGeom>
            <a:noFill/>
          </p:spPr>
          <p:txBody>
            <a:bodyPr lIns="0" tIns="0" rIns="0" bIns="0"/>
            <a:lstStyle/>
            <a:p>
              <a:pPr marL="0" marR="0" lvl="0" indent="-27432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9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ES" sz="1100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" pitchFamily="18" charset="0"/>
                </a:rPr>
                <a:t>Archivo Electrónico Seguro</a:t>
              </a:r>
            </a:p>
          </p:txBody>
        </p:sp>
      </p:grpSp>
      <p:sp>
        <p:nvSpPr>
          <p:cNvPr id="85" name="Title 1"/>
          <p:cNvSpPr txBox="1">
            <a:spLocks/>
          </p:cNvSpPr>
          <p:nvPr/>
        </p:nvSpPr>
        <p:spPr>
          <a:xfrm>
            <a:off x="6261949" y="6444883"/>
            <a:ext cx="5870447" cy="365833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endParaRPr lang="es-ES" sz="300" dirty="0" smtClean="0">
              <a:solidFill>
                <a:srgbClr val="002060"/>
              </a:solidFill>
              <a:latin typeface="Georgia" panose="02040502050405020303" pitchFamily="18" charset="0"/>
            </a:endParaRPr>
          </a:p>
          <a:p>
            <a:r>
              <a:rPr lang="es-ES" sz="1000" b="1" dirty="0">
                <a:solidFill>
                  <a:srgbClr val="002060"/>
                </a:solidFill>
                <a:latin typeface="Georgia" panose="02040502050405020303" pitchFamily="18" charset="0"/>
              </a:rPr>
              <a:t>https://portalprocuradorescertificacion.cgpe.es/</a:t>
            </a:r>
          </a:p>
        </p:txBody>
      </p:sp>
      <p:sp>
        <p:nvSpPr>
          <p:cNvPr id="86" name="Title 1"/>
          <p:cNvSpPr txBox="1">
            <a:spLocks/>
          </p:cNvSpPr>
          <p:nvPr/>
        </p:nvSpPr>
        <p:spPr>
          <a:xfrm>
            <a:off x="7539666" y="1478711"/>
            <a:ext cx="3156289" cy="6518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200" b="1" dirty="0">
                <a:solidFill>
                  <a:srgbClr val="002060"/>
                </a:solidFill>
                <a:latin typeface="Georgia" panose="02040502050405020303" pitchFamily="18" charset="0"/>
              </a:rPr>
              <a:t>Notifica desde la plataforma, tu cliente de correo o sistema de </a:t>
            </a:r>
            <a:r>
              <a:rPr lang="es-ES" sz="1200" b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gestión</a:t>
            </a:r>
          </a:p>
        </p:txBody>
      </p:sp>
      <p:sp>
        <p:nvSpPr>
          <p:cNvPr id="87" name="Title 1"/>
          <p:cNvSpPr txBox="1">
            <a:spLocks/>
          </p:cNvSpPr>
          <p:nvPr/>
        </p:nvSpPr>
        <p:spPr>
          <a:xfrm>
            <a:off x="7385745" y="1877671"/>
            <a:ext cx="3464130" cy="65186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200" b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Hazlo de manera sencilla, legal y segura</a:t>
            </a:r>
            <a:endParaRPr lang="es-ES" sz="1200" b="1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  <p:sp>
        <p:nvSpPr>
          <p:cNvPr id="88" name="Title 1"/>
          <p:cNvSpPr txBox="1">
            <a:spLocks/>
          </p:cNvSpPr>
          <p:nvPr/>
        </p:nvSpPr>
        <p:spPr>
          <a:xfrm>
            <a:off x="6095999" y="2528918"/>
            <a:ext cx="6096002" cy="376498"/>
          </a:xfrm>
          <a:prstGeom prst="rect">
            <a:avLst/>
          </a:prstGeom>
          <a:solidFill>
            <a:srgbClr val="223C6F"/>
          </a:solidFill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¡Regístrate antes del 31 de Octubre con el código </a:t>
            </a:r>
            <a:r>
              <a:rPr lang="es-ES" sz="1200" b="1" i="1" u="sng" dirty="0" smtClean="0">
                <a:solidFill>
                  <a:schemeClr val="bg1"/>
                </a:solidFill>
                <a:latin typeface="Georgia" panose="02040502050405020303" pitchFamily="18" charset="0"/>
              </a:rPr>
              <a:t>GradSocial</a:t>
            </a:r>
            <a:r>
              <a:rPr lang="es-ES" sz="1200" b="1" dirty="0" smtClean="0">
                <a:solidFill>
                  <a:schemeClr val="bg1"/>
                </a:solidFill>
                <a:latin typeface="Georgia" panose="02040502050405020303" pitchFamily="18" charset="0"/>
              </a:rPr>
              <a:t> y prueba gratis un bono de 10 envíos!</a:t>
            </a:r>
            <a:endParaRPr lang="es-ES" sz="1200" b="1" dirty="0">
              <a:solidFill>
                <a:schemeClr val="bg1"/>
              </a:solidFill>
              <a:latin typeface="Georgia" panose="02040502050405020303" pitchFamily="18" charset="0"/>
            </a:endParaRPr>
          </a:p>
        </p:txBody>
      </p:sp>
      <p:cxnSp>
        <p:nvCxnSpPr>
          <p:cNvPr id="102" name="Straight Connector 101"/>
          <p:cNvCxnSpPr/>
          <p:nvPr/>
        </p:nvCxnSpPr>
        <p:spPr>
          <a:xfrm>
            <a:off x="6096000" y="-16882"/>
            <a:ext cx="0" cy="6909883"/>
          </a:xfrm>
          <a:prstGeom prst="line">
            <a:avLst/>
          </a:prstGeom>
          <a:ln>
            <a:solidFill>
              <a:srgbClr val="004D8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Title 1"/>
          <p:cNvSpPr txBox="1">
            <a:spLocks/>
          </p:cNvSpPr>
          <p:nvPr/>
        </p:nvSpPr>
        <p:spPr>
          <a:xfrm>
            <a:off x="247930" y="-44673"/>
            <a:ext cx="5597237" cy="531200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>
              <a:lnSpc>
                <a:spcPct val="100000"/>
              </a:lnSpc>
              <a:spcBef>
                <a:spcPts val="0"/>
              </a:spcBef>
            </a:pPr>
            <a:r>
              <a:rPr lang="es-ES" sz="1200" b="1" dirty="0" smtClean="0">
                <a:solidFill>
                  <a:srgbClr val="002060"/>
                </a:solidFill>
                <a:latin typeface="Georgia" panose="02040502050405020303" pitchFamily="18" charset="0"/>
              </a:rPr>
              <a:t>Podrás notificar electrónicamente siguiendo estos sencillos pasos:</a:t>
            </a:r>
            <a:endParaRPr lang="es-ES" sz="1200" b="1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  <p:sp>
        <p:nvSpPr>
          <p:cNvPr id="111" name="Title 1"/>
          <p:cNvSpPr txBox="1">
            <a:spLocks/>
          </p:cNvSpPr>
          <p:nvPr/>
        </p:nvSpPr>
        <p:spPr>
          <a:xfrm>
            <a:off x="690028" y="282778"/>
            <a:ext cx="4633762" cy="5547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200" dirty="0" smtClean="0">
                <a:solidFill>
                  <a:srgbClr val="002060"/>
                </a:solidFill>
                <a:latin typeface="Georgia" panose="02040502050405020303" pitchFamily="18" charset="0"/>
              </a:rPr>
              <a:t>Accede a https://procuradorescertificacion.cgpe.es</a:t>
            </a:r>
          </a:p>
          <a:p>
            <a:r>
              <a:rPr lang="es-ES" sz="1200" dirty="0" smtClean="0">
                <a:solidFill>
                  <a:srgbClr val="002060"/>
                </a:solidFill>
                <a:latin typeface="Georgia" panose="02040502050405020303" pitchFamily="18" charset="0"/>
              </a:rPr>
              <a:t>y regístrate como nuevo usuario. </a:t>
            </a:r>
            <a:r>
              <a:rPr lang="es-ES" sz="1200" dirty="0">
                <a:solidFill>
                  <a:srgbClr val="002060"/>
                </a:solidFill>
                <a:latin typeface="Georgia" panose="02040502050405020303" pitchFamily="18" charset="0"/>
              </a:rPr>
              <a:t>Introduce el código </a:t>
            </a:r>
            <a:r>
              <a:rPr lang="es-ES" sz="1200" b="1" i="1" dirty="0">
                <a:solidFill>
                  <a:srgbClr val="002060"/>
                </a:solidFill>
                <a:latin typeface="Georgia" panose="02040502050405020303" pitchFamily="18" charset="0"/>
              </a:rPr>
              <a:t>GradSocial </a:t>
            </a:r>
          </a:p>
        </p:txBody>
      </p:sp>
      <p:sp>
        <p:nvSpPr>
          <p:cNvPr id="112" name="Title 1"/>
          <p:cNvSpPr txBox="1">
            <a:spLocks/>
          </p:cNvSpPr>
          <p:nvPr/>
        </p:nvSpPr>
        <p:spPr>
          <a:xfrm>
            <a:off x="690029" y="946635"/>
            <a:ext cx="4633761" cy="6222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200" dirty="0">
                <a:solidFill>
                  <a:srgbClr val="002060"/>
                </a:solidFill>
                <a:latin typeface="Georgia" panose="02040502050405020303" pitchFamily="18" charset="0"/>
              </a:rPr>
              <a:t>Crea la notificación desde la plataforma, desde tu cliente correo o sistema de gestión y envíala al destinatario o destinatarios</a:t>
            </a:r>
          </a:p>
        </p:txBody>
      </p:sp>
      <p:sp>
        <p:nvSpPr>
          <p:cNvPr id="115" name="Title 1"/>
          <p:cNvSpPr txBox="1">
            <a:spLocks/>
          </p:cNvSpPr>
          <p:nvPr/>
        </p:nvSpPr>
        <p:spPr>
          <a:xfrm>
            <a:off x="690029" y="1748193"/>
            <a:ext cx="4633761" cy="684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200" dirty="0">
                <a:solidFill>
                  <a:srgbClr val="002060"/>
                </a:solidFill>
                <a:latin typeface="Georgia" panose="02040502050405020303" pitchFamily="18" charset="0"/>
              </a:rPr>
              <a:t>Como tercero de confianza certificamos, con firma electrónica y sellado de tiempo, el momento de la entrega, acceso y respuesta a la notificación por parte del destinatario</a:t>
            </a:r>
          </a:p>
        </p:txBody>
      </p:sp>
      <p:sp>
        <p:nvSpPr>
          <p:cNvPr id="117" name="Title 1"/>
          <p:cNvSpPr txBox="1">
            <a:spLocks/>
          </p:cNvSpPr>
          <p:nvPr/>
        </p:nvSpPr>
        <p:spPr>
          <a:xfrm>
            <a:off x="690029" y="2567234"/>
            <a:ext cx="4633761" cy="68445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200" dirty="0">
                <a:solidFill>
                  <a:srgbClr val="002060"/>
                </a:solidFill>
                <a:latin typeface="Georgia" panose="02040502050405020303" pitchFamily="18" charset="0"/>
              </a:rPr>
              <a:t>Descárgate el certificado que acredita toda la información de la comunicación</a:t>
            </a:r>
          </a:p>
        </p:txBody>
      </p:sp>
      <p:sp>
        <p:nvSpPr>
          <p:cNvPr id="119" name="Down Arrow 118"/>
          <p:cNvSpPr/>
          <p:nvPr/>
        </p:nvSpPr>
        <p:spPr>
          <a:xfrm>
            <a:off x="2921893" y="729400"/>
            <a:ext cx="170033" cy="317005"/>
          </a:xfrm>
          <a:prstGeom prst="downArrow">
            <a:avLst>
              <a:gd name="adj1" fmla="val 28378"/>
              <a:gd name="adj2" fmla="val 101351"/>
            </a:avLst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20" name="Title 1"/>
          <p:cNvSpPr txBox="1">
            <a:spLocks/>
          </p:cNvSpPr>
          <p:nvPr/>
        </p:nvSpPr>
        <p:spPr>
          <a:xfrm>
            <a:off x="690029" y="3323215"/>
            <a:ext cx="4633761" cy="68445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200" dirty="0">
                <a:solidFill>
                  <a:srgbClr val="002060"/>
                </a:solidFill>
                <a:latin typeface="Georgia" panose="02040502050405020303" pitchFamily="18" charset="0"/>
              </a:rPr>
              <a:t>Almacenamos, de forma segura, todas tus comunicaciones y certificados en nuestra base de datos durante 6 años. Podrás acceder a ellas cuando lo necesites</a:t>
            </a:r>
          </a:p>
        </p:txBody>
      </p:sp>
      <p:sp>
        <p:nvSpPr>
          <p:cNvPr id="122" name="Down Arrow 121"/>
          <p:cNvSpPr/>
          <p:nvPr/>
        </p:nvSpPr>
        <p:spPr>
          <a:xfrm>
            <a:off x="2921893" y="1453128"/>
            <a:ext cx="170033" cy="317005"/>
          </a:xfrm>
          <a:prstGeom prst="downArrow">
            <a:avLst>
              <a:gd name="adj1" fmla="val 28378"/>
              <a:gd name="adj2" fmla="val 101351"/>
            </a:avLst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23" name="Down Arrow 122"/>
          <p:cNvSpPr/>
          <p:nvPr/>
        </p:nvSpPr>
        <p:spPr>
          <a:xfrm>
            <a:off x="2921893" y="2379699"/>
            <a:ext cx="170033" cy="317005"/>
          </a:xfrm>
          <a:prstGeom prst="downArrow">
            <a:avLst>
              <a:gd name="adj1" fmla="val 28378"/>
              <a:gd name="adj2" fmla="val 101351"/>
            </a:avLst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sp>
        <p:nvSpPr>
          <p:cNvPr id="124" name="Down Arrow 123"/>
          <p:cNvSpPr/>
          <p:nvPr/>
        </p:nvSpPr>
        <p:spPr>
          <a:xfrm>
            <a:off x="2921893" y="3107660"/>
            <a:ext cx="170033" cy="317005"/>
          </a:xfrm>
          <a:prstGeom prst="downArrow">
            <a:avLst>
              <a:gd name="adj1" fmla="val 28378"/>
              <a:gd name="adj2" fmla="val 101351"/>
            </a:avLst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/>
          </a:p>
        </p:txBody>
      </p:sp>
      <p:graphicFrame>
        <p:nvGraphicFramePr>
          <p:cNvPr id="125" name="Table 12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65079781"/>
              </p:ext>
            </p:extLst>
          </p:nvPr>
        </p:nvGraphicFramePr>
        <p:xfrm>
          <a:off x="83961" y="4075808"/>
          <a:ext cx="5932660" cy="173736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tableStyleId>{5C22544A-7EE6-4342-B048-85BDC9FD1C3A}</a:tableStyleId>
              </a:tblPr>
              <a:tblGrid>
                <a:gridCol w="1723524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458007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1751129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</a:tblGrid>
              <a:tr h="203575"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latin typeface="Georgia" panose="02040502050405020303" pitchFamily="18" charset="0"/>
                        </a:rPr>
                        <a:t>Tipo de tarifa</a:t>
                      </a:r>
                    </a:p>
                  </a:txBody>
                  <a:tcPr anchor="ctr">
                    <a:solidFill>
                      <a:srgbClr val="002060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latin typeface="Georgia" panose="02040502050405020303" pitchFamily="18" charset="0"/>
                        </a:rPr>
                        <a:t>Incluye…</a:t>
                      </a:r>
                    </a:p>
                  </a:txBody>
                  <a:tcPr anchor="ctr">
                    <a:solidFill>
                      <a:srgbClr val="002060">
                        <a:alpha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200" dirty="0">
                          <a:latin typeface="Georgia" panose="02040502050405020303" pitchFamily="18" charset="0"/>
                        </a:rPr>
                        <a:t>Precio (sin IVA)</a:t>
                      </a:r>
                    </a:p>
                  </a:txBody>
                  <a:tcPr anchor="ctr">
                    <a:solidFill>
                      <a:srgbClr val="002060">
                        <a:alpha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99684">
                <a:tc>
                  <a:txBody>
                    <a:bodyPr/>
                    <a:lstStyle/>
                    <a:p>
                      <a:pPr algn="l"/>
                      <a:r>
                        <a:rPr lang="es-ES" sz="1000" dirty="0">
                          <a:latin typeface="Georgia" panose="02040502050405020303" pitchFamily="18" charset="0"/>
                        </a:rPr>
                        <a:t>Tarifa plan</a:t>
                      </a:r>
                      <a:r>
                        <a:rPr lang="es-ES" sz="1000" baseline="0" dirty="0">
                          <a:latin typeface="Georgia" panose="02040502050405020303" pitchFamily="18" charset="0"/>
                        </a:rPr>
                        <a:t>a </a:t>
                      </a:r>
                      <a:r>
                        <a:rPr lang="es-ES" sz="1000" baseline="0" dirty="0" smtClean="0">
                          <a:latin typeface="Georgia" panose="02040502050405020303" pitchFamily="18" charset="0"/>
                        </a:rPr>
                        <a:t>250</a:t>
                      </a:r>
                      <a:endParaRPr lang="es-ES" sz="1000" dirty="0">
                        <a:latin typeface="Georgia" panose="02040502050405020303" pitchFamily="18" charset="0"/>
                      </a:endParaRP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 smtClean="0">
                          <a:latin typeface="Georgia" panose="02040502050405020303" pitchFamily="18" charset="0"/>
                        </a:rPr>
                        <a:t>250 </a:t>
                      </a:r>
                      <a:r>
                        <a:rPr lang="es-ES" sz="1000" dirty="0">
                          <a:latin typeface="Georgia" panose="02040502050405020303" pitchFamily="18" charset="0"/>
                        </a:rPr>
                        <a:t>envíos</a:t>
                      </a:r>
                      <a:r>
                        <a:rPr lang="es-ES" sz="1000" baseline="0" dirty="0">
                          <a:latin typeface="Georgia" panose="02040502050405020303" pitchFamily="18" charset="0"/>
                        </a:rPr>
                        <a:t> mensuales </a:t>
                      </a:r>
                      <a:r>
                        <a:rPr lang="es-ES" sz="1000" baseline="0" dirty="0" smtClean="0">
                          <a:latin typeface="Georgia" panose="02040502050405020303" pitchFamily="18" charset="0"/>
                        </a:rPr>
                        <a:t>(50 </a:t>
                      </a:r>
                      <a:r>
                        <a:rPr lang="es-ES" sz="1000" baseline="0" dirty="0">
                          <a:latin typeface="Georgia" panose="02040502050405020303" pitchFamily="18" charset="0"/>
                        </a:rPr>
                        <a:t>MB)</a:t>
                      </a:r>
                      <a:endParaRPr lang="es-ES" sz="1000" dirty="0">
                        <a:latin typeface="Georgia" panose="02040502050405020303" pitchFamily="18" charset="0"/>
                      </a:endParaRP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 smtClean="0">
                          <a:latin typeface="Georgia" panose="02040502050405020303" pitchFamily="18" charset="0"/>
                        </a:rPr>
                        <a:t>12 </a:t>
                      </a:r>
                      <a:r>
                        <a:rPr lang="es-ES" sz="1000" dirty="0">
                          <a:latin typeface="Georgia" panose="02040502050405020303" pitchFamily="18" charset="0"/>
                        </a:rPr>
                        <a:t>€ mensuales</a:t>
                      </a: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</a:tr>
              <a:tr h="199684">
                <a:tc>
                  <a:txBody>
                    <a:bodyPr/>
                    <a:lstStyle/>
                    <a:p>
                      <a:pPr algn="l"/>
                      <a:r>
                        <a:rPr lang="es-ES" sz="1000" dirty="0">
                          <a:latin typeface="Georgia" panose="02040502050405020303" pitchFamily="18" charset="0"/>
                        </a:rPr>
                        <a:t>Tarifa plan</a:t>
                      </a:r>
                      <a:r>
                        <a:rPr lang="es-ES" sz="1000" baseline="0" dirty="0">
                          <a:latin typeface="Georgia" panose="02040502050405020303" pitchFamily="18" charset="0"/>
                        </a:rPr>
                        <a:t>a 500</a:t>
                      </a:r>
                      <a:endParaRPr lang="es-ES" sz="1000" dirty="0">
                        <a:latin typeface="Georgia" panose="02040502050405020303" pitchFamily="18" charset="0"/>
                      </a:endParaRP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Georgia" panose="02040502050405020303" pitchFamily="18" charset="0"/>
                        </a:rPr>
                        <a:t>500 envíos</a:t>
                      </a:r>
                      <a:r>
                        <a:rPr lang="es-ES" sz="1000" baseline="0" dirty="0">
                          <a:latin typeface="Georgia" panose="02040502050405020303" pitchFamily="18" charset="0"/>
                        </a:rPr>
                        <a:t> mensuales (100 MB)</a:t>
                      </a:r>
                      <a:endParaRPr lang="es-ES" sz="1000" dirty="0">
                        <a:latin typeface="Georgia" panose="02040502050405020303" pitchFamily="18" charset="0"/>
                      </a:endParaRP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 smtClean="0">
                          <a:latin typeface="Georgia" panose="02040502050405020303" pitchFamily="18" charset="0"/>
                        </a:rPr>
                        <a:t>18 </a:t>
                      </a:r>
                      <a:r>
                        <a:rPr lang="es-ES" sz="1000" dirty="0">
                          <a:latin typeface="Georgia" panose="02040502050405020303" pitchFamily="18" charset="0"/>
                        </a:rPr>
                        <a:t>€ mensuales</a:t>
                      </a: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s-ES" sz="1000" dirty="0">
                          <a:latin typeface="Georgia" panose="02040502050405020303" pitchFamily="18" charset="0"/>
                        </a:rPr>
                        <a:t>Tarifa plana 1.000</a:t>
                      </a: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Georgia" panose="02040502050405020303" pitchFamily="18" charset="0"/>
                        </a:rPr>
                        <a:t>1.000</a:t>
                      </a:r>
                      <a:r>
                        <a:rPr lang="es-ES" sz="1000" baseline="0" dirty="0">
                          <a:latin typeface="Georgia" panose="02040502050405020303" pitchFamily="18" charset="0"/>
                        </a:rPr>
                        <a:t> envíos mensuales (200 MB)</a:t>
                      </a:r>
                      <a:endParaRPr lang="es-ES" sz="1000" dirty="0">
                        <a:latin typeface="Georgia" panose="02040502050405020303" pitchFamily="18" charset="0"/>
                      </a:endParaRP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 smtClean="0">
                          <a:latin typeface="Georgia" panose="02040502050405020303" pitchFamily="18" charset="0"/>
                        </a:rPr>
                        <a:t>30 </a:t>
                      </a:r>
                      <a:r>
                        <a:rPr lang="es-ES" sz="1000" dirty="0">
                          <a:latin typeface="Georgia" panose="02040502050405020303" pitchFamily="18" charset="0"/>
                        </a:rPr>
                        <a:t>€ mensuales</a:t>
                      </a: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s-ES" sz="1000" dirty="0">
                          <a:latin typeface="Georgia" panose="02040502050405020303" pitchFamily="18" charset="0"/>
                        </a:rPr>
                        <a:t>Tarifa plana 3.000</a:t>
                      </a: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Georgia" panose="02040502050405020303" pitchFamily="18" charset="0"/>
                        </a:rPr>
                        <a:t>3.000 envíos mensuales (600</a:t>
                      </a:r>
                      <a:r>
                        <a:rPr lang="es-ES" sz="1000" baseline="0" dirty="0">
                          <a:latin typeface="Georgia" panose="02040502050405020303" pitchFamily="18" charset="0"/>
                        </a:rPr>
                        <a:t> MB)</a:t>
                      </a:r>
                      <a:endParaRPr lang="es-ES" sz="1000" dirty="0">
                        <a:latin typeface="Georgia" panose="02040502050405020303" pitchFamily="18" charset="0"/>
                      </a:endParaRP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Georgia" panose="02040502050405020303" pitchFamily="18" charset="0"/>
                        </a:rPr>
                        <a:t>5</a:t>
                      </a:r>
                      <a:r>
                        <a:rPr lang="es-ES" sz="1000" dirty="0" smtClean="0">
                          <a:latin typeface="Georgia" panose="02040502050405020303" pitchFamily="18" charset="0"/>
                        </a:rPr>
                        <a:t>5 </a:t>
                      </a:r>
                      <a:r>
                        <a:rPr lang="es-ES" sz="1000" dirty="0">
                          <a:latin typeface="Georgia" panose="02040502050405020303" pitchFamily="18" charset="0"/>
                        </a:rPr>
                        <a:t>€ mensuales</a:t>
                      </a: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s-ES" sz="1000" dirty="0">
                          <a:latin typeface="Georgia" panose="02040502050405020303" pitchFamily="18" charset="0"/>
                        </a:rPr>
                        <a:t>Tarifa plana 7.000</a:t>
                      </a: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Georgia" panose="02040502050405020303" pitchFamily="18" charset="0"/>
                        </a:rPr>
                        <a:t>7.000 envíos mensuales (1.400</a:t>
                      </a:r>
                      <a:r>
                        <a:rPr lang="es-ES" sz="1000" baseline="0" dirty="0">
                          <a:latin typeface="Georgia" panose="02040502050405020303" pitchFamily="18" charset="0"/>
                        </a:rPr>
                        <a:t> MB)</a:t>
                      </a:r>
                      <a:endParaRPr lang="es-ES" sz="1000" dirty="0">
                        <a:latin typeface="Georgia" panose="02040502050405020303" pitchFamily="18" charset="0"/>
                      </a:endParaRP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 smtClean="0">
                          <a:latin typeface="Georgia" panose="02040502050405020303" pitchFamily="18" charset="0"/>
                        </a:rPr>
                        <a:t>110 </a:t>
                      </a:r>
                      <a:r>
                        <a:rPr lang="es-ES" sz="1000" dirty="0">
                          <a:latin typeface="Georgia" panose="02040502050405020303" pitchFamily="18" charset="0"/>
                        </a:rPr>
                        <a:t>€ mensuales</a:t>
                      </a: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/>
                      <a:r>
                        <a:rPr lang="es-ES" sz="1000" dirty="0">
                          <a:latin typeface="Georgia" panose="02040502050405020303" pitchFamily="18" charset="0"/>
                        </a:rPr>
                        <a:t>Tarifa plana 20.000</a:t>
                      </a: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>
                          <a:latin typeface="Georgia" panose="02040502050405020303" pitchFamily="18" charset="0"/>
                        </a:rPr>
                        <a:t>20.000 envíos mensuales (4.000</a:t>
                      </a:r>
                      <a:r>
                        <a:rPr lang="es-ES" sz="1000" baseline="0" dirty="0">
                          <a:latin typeface="Georgia" panose="02040502050405020303" pitchFamily="18" charset="0"/>
                        </a:rPr>
                        <a:t> MB)</a:t>
                      </a:r>
                      <a:endParaRPr lang="es-ES" sz="1000" dirty="0">
                        <a:latin typeface="Georgia" panose="02040502050405020303" pitchFamily="18" charset="0"/>
                      </a:endParaRP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ES" sz="1000" dirty="0" smtClean="0">
                          <a:latin typeface="Georgia" panose="02040502050405020303" pitchFamily="18" charset="0"/>
                        </a:rPr>
                        <a:t>300 </a:t>
                      </a:r>
                      <a:r>
                        <a:rPr lang="es-ES" sz="1000" dirty="0">
                          <a:latin typeface="Georgia" panose="02040502050405020303" pitchFamily="18" charset="0"/>
                        </a:rPr>
                        <a:t>€ mensuales</a:t>
                      </a:r>
                    </a:p>
                  </a:txBody>
                  <a:tcPr anchor="ctr">
                    <a:solidFill>
                      <a:srgbClr val="002060">
                        <a:alpha val="12157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005"/>
                  </a:ext>
                </a:extLst>
              </a:tr>
            </a:tbl>
          </a:graphicData>
        </a:graphic>
      </p:graphicFrame>
      <p:sp>
        <p:nvSpPr>
          <p:cNvPr id="126" name="Title 1"/>
          <p:cNvSpPr txBox="1">
            <a:spLocks/>
          </p:cNvSpPr>
          <p:nvPr/>
        </p:nvSpPr>
        <p:spPr>
          <a:xfrm>
            <a:off x="26246" y="5821571"/>
            <a:ext cx="6001434" cy="5670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2500" lnSpcReduction="100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just"/>
            <a:r>
              <a:rPr lang="es-ES" sz="1000" dirty="0">
                <a:latin typeface="Georgia" panose="02040502050405020303" pitchFamily="18" charset="0"/>
              </a:rPr>
              <a:t>*Las tarifas planas incluyen notificaciones sin acuse de </a:t>
            </a:r>
            <a:r>
              <a:rPr lang="es-ES" sz="1000" dirty="0" smtClean="0">
                <a:latin typeface="Georgia" panose="02040502050405020303" pitchFamily="18" charset="0"/>
              </a:rPr>
              <a:t>lectura, </a:t>
            </a:r>
            <a:r>
              <a:rPr lang="es-ES" sz="1000" dirty="0">
                <a:latin typeface="Georgia" panose="02040502050405020303" pitchFamily="18" charset="0"/>
              </a:rPr>
              <a:t>notificaciones electrónicas con pin y sin pin y </a:t>
            </a:r>
            <a:r>
              <a:rPr lang="es-ES" sz="1000" dirty="0" smtClean="0">
                <a:latin typeface="Georgia" panose="02040502050405020303" pitchFamily="18" charset="0"/>
              </a:rPr>
              <a:t>notificaciones </a:t>
            </a:r>
            <a:r>
              <a:rPr lang="es-ES" sz="1000" dirty="0">
                <a:latin typeface="Georgia" panose="02040502050405020303" pitchFamily="18" charset="0"/>
              </a:rPr>
              <a:t>electrónicas con certificado digital así como la descarga de </a:t>
            </a:r>
            <a:r>
              <a:rPr lang="es-ES" sz="1000" dirty="0" smtClean="0">
                <a:latin typeface="Georgia" panose="02040502050405020303" pitchFamily="18" charset="0"/>
              </a:rPr>
              <a:t>certificados.</a:t>
            </a:r>
          </a:p>
          <a:p>
            <a:pPr algn="just"/>
            <a:r>
              <a:rPr lang="es-ES" sz="1000" dirty="0" smtClean="0">
                <a:latin typeface="Georgia" panose="02040502050405020303" pitchFamily="18" charset="0"/>
              </a:rPr>
              <a:t>Visita nuestra web e infórmate sobre el resto de servicios (bonos de envíos, envíos individuales, SMS</a:t>
            </a:r>
            <a:r>
              <a:rPr lang="es-ES" sz="1000" dirty="0" smtClean="0">
                <a:latin typeface="Georgia" panose="02040502050405020303" pitchFamily="18" charset="0"/>
              </a:rPr>
              <a:t>…)</a:t>
            </a:r>
          </a:p>
          <a:p>
            <a:pPr algn="just"/>
            <a:r>
              <a:rPr lang="es-ES" sz="1000" dirty="0"/>
              <a:t>https://portalprocuradorescertificacion.cgpe.es</a:t>
            </a:r>
            <a:r>
              <a:rPr lang="es-ES" sz="1000" dirty="0" smtClean="0"/>
              <a:t>/</a:t>
            </a:r>
            <a:endParaRPr lang="es-ES" sz="1000" dirty="0"/>
          </a:p>
        </p:txBody>
      </p:sp>
      <p:sp>
        <p:nvSpPr>
          <p:cNvPr id="128" name="Title 1"/>
          <p:cNvSpPr txBox="1">
            <a:spLocks/>
          </p:cNvSpPr>
          <p:nvPr/>
        </p:nvSpPr>
        <p:spPr>
          <a:xfrm>
            <a:off x="6638279" y="875706"/>
            <a:ext cx="5119100" cy="835718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i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s-ES" sz="2000" dirty="0" smtClean="0">
                <a:solidFill>
                  <a:srgbClr val="002060"/>
                </a:solidFill>
                <a:latin typeface="Georgia" panose="02040502050405020303" pitchFamily="18" charset="0"/>
              </a:rPr>
              <a:t>Plataforma de Certificación de Envíos</a:t>
            </a:r>
            <a:endParaRPr lang="es-ES" sz="2000" dirty="0">
              <a:solidFill>
                <a:srgbClr val="002060"/>
              </a:solidFill>
              <a:latin typeface="Georgia" panose="02040502050405020303" pitchFamily="18" charset="0"/>
            </a:endParaRPr>
          </a:p>
        </p:txBody>
      </p:sp>
      <p:pic>
        <p:nvPicPr>
          <p:cNvPr id="129" name="Picture 12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3428" y="218628"/>
            <a:ext cx="2461147" cy="628912"/>
          </a:xfrm>
          <a:prstGeom prst="rect">
            <a:avLst/>
          </a:prstGeom>
        </p:spPr>
      </p:pic>
      <p:sp>
        <p:nvSpPr>
          <p:cNvPr id="89" name="Rectangle 88"/>
          <p:cNvSpPr/>
          <p:nvPr/>
        </p:nvSpPr>
        <p:spPr bwMode="ltGray">
          <a:xfrm>
            <a:off x="1" y="6426668"/>
            <a:ext cx="6096000" cy="382674"/>
          </a:xfrm>
          <a:prstGeom prst="rect">
            <a:avLst/>
          </a:prstGeom>
          <a:solidFill>
            <a:srgbClr val="FFFFFF">
              <a:alpha val="83137"/>
            </a:srgbClr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grpSp>
        <p:nvGrpSpPr>
          <p:cNvPr id="6" name="Group 5"/>
          <p:cNvGrpSpPr/>
          <p:nvPr/>
        </p:nvGrpSpPr>
        <p:grpSpPr>
          <a:xfrm>
            <a:off x="247127" y="6203316"/>
            <a:ext cx="5325121" cy="750071"/>
            <a:chOff x="233272" y="6203320"/>
            <a:chExt cx="5325121" cy="750071"/>
          </a:xfrm>
        </p:grpSpPr>
        <p:pic>
          <p:nvPicPr>
            <p:cNvPr id="43" name="Picture 4" descr="Resultado de imagen de visa"/>
            <p:cNvPicPr>
              <a:picLocks noChangeAspect="1" noChangeArrowheads="1"/>
            </p:cNvPicPr>
            <p:nvPr/>
          </p:nvPicPr>
          <p:blipFill>
            <a:blip r:embed="rId7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423305" y="6472568"/>
              <a:ext cx="948971" cy="3019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6" descr="Resultado de imagen de domiciliacion bancaria"/>
            <p:cNvPicPr>
              <a:picLocks noChangeAspect="1" noChangeArrowheads="1"/>
            </p:cNvPicPr>
            <p:nvPr/>
          </p:nvPicPr>
          <p:blipFill>
            <a:blip r:embed="rId8">
              <a:duotone>
                <a:schemeClr val="accent1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33272" y="6464616"/>
              <a:ext cx="674612" cy="33086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45" name="Grupo 39"/>
            <p:cNvGrpSpPr/>
            <p:nvPr/>
          </p:nvGrpSpPr>
          <p:grpSpPr>
            <a:xfrm>
              <a:off x="5039924" y="6418807"/>
              <a:ext cx="518469" cy="312549"/>
              <a:chOff x="777875" y="4092576"/>
              <a:chExt cx="769938" cy="565150"/>
            </a:xfrm>
            <a:solidFill>
              <a:srgbClr val="C6703B"/>
            </a:solidFill>
          </p:grpSpPr>
          <p:sp>
            <p:nvSpPr>
              <p:cNvPr id="46" name="Freeform 39"/>
              <p:cNvSpPr>
                <a:spLocks/>
              </p:cNvSpPr>
              <p:nvPr/>
            </p:nvSpPr>
            <p:spPr bwMode="auto">
              <a:xfrm>
                <a:off x="987425" y="4233863"/>
                <a:ext cx="109538" cy="234950"/>
              </a:xfrm>
              <a:custGeom>
                <a:avLst/>
                <a:gdLst>
                  <a:gd name="T0" fmla="*/ 12 w 29"/>
                  <a:gd name="T1" fmla="*/ 0 h 62"/>
                  <a:gd name="T2" fmla="*/ 8 w 29"/>
                  <a:gd name="T3" fmla="*/ 0 h 62"/>
                  <a:gd name="T4" fmla="*/ 5 w 29"/>
                  <a:gd name="T5" fmla="*/ 18 h 62"/>
                  <a:gd name="T6" fmla="*/ 9 w 29"/>
                  <a:gd name="T7" fmla="*/ 19 h 62"/>
                  <a:gd name="T8" fmla="*/ 17 w 29"/>
                  <a:gd name="T9" fmla="*/ 17 h 62"/>
                  <a:gd name="T10" fmla="*/ 21 w 29"/>
                  <a:gd name="T11" fmla="*/ 33 h 62"/>
                  <a:gd name="T12" fmla="*/ 14 w 29"/>
                  <a:gd name="T13" fmla="*/ 48 h 62"/>
                  <a:gd name="T14" fmla="*/ 7 w 29"/>
                  <a:gd name="T15" fmla="*/ 43 h 62"/>
                  <a:gd name="T16" fmla="*/ 2 w 29"/>
                  <a:gd name="T17" fmla="*/ 43 h 62"/>
                  <a:gd name="T18" fmla="*/ 0 w 29"/>
                  <a:gd name="T19" fmla="*/ 60 h 62"/>
                  <a:gd name="T20" fmla="*/ 4 w 29"/>
                  <a:gd name="T21" fmla="*/ 62 h 62"/>
                  <a:gd name="T22" fmla="*/ 9 w 29"/>
                  <a:gd name="T23" fmla="*/ 62 h 62"/>
                  <a:gd name="T24" fmla="*/ 28 w 29"/>
                  <a:gd name="T25" fmla="*/ 34 h 62"/>
                  <a:gd name="T26" fmla="*/ 27 w 29"/>
                  <a:gd name="T27" fmla="*/ 15 h 62"/>
                  <a:gd name="T28" fmla="*/ 12 w 29"/>
                  <a:gd name="T29" fmla="*/ 0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29" h="62">
                    <a:moveTo>
                      <a:pt x="12" y="0"/>
                    </a:moveTo>
                    <a:cubicBezTo>
                      <a:pt x="10" y="0"/>
                      <a:pt x="9" y="0"/>
                      <a:pt x="8" y="0"/>
                    </a:cubicBezTo>
                    <a:cubicBezTo>
                      <a:pt x="5" y="18"/>
                      <a:pt x="5" y="18"/>
                      <a:pt x="5" y="18"/>
                    </a:cubicBezTo>
                    <a:cubicBezTo>
                      <a:pt x="6" y="18"/>
                      <a:pt x="8" y="19"/>
                      <a:pt x="9" y="19"/>
                    </a:cubicBezTo>
                    <a:cubicBezTo>
                      <a:pt x="12" y="20"/>
                      <a:pt x="15" y="19"/>
                      <a:pt x="17" y="17"/>
                    </a:cubicBezTo>
                    <a:cubicBezTo>
                      <a:pt x="20" y="21"/>
                      <a:pt x="22" y="26"/>
                      <a:pt x="21" y="33"/>
                    </a:cubicBezTo>
                    <a:cubicBezTo>
                      <a:pt x="20" y="40"/>
                      <a:pt x="17" y="45"/>
                      <a:pt x="14" y="48"/>
                    </a:cubicBezTo>
                    <a:cubicBezTo>
                      <a:pt x="13" y="45"/>
                      <a:pt x="10" y="43"/>
                      <a:pt x="7" y="43"/>
                    </a:cubicBezTo>
                    <a:cubicBezTo>
                      <a:pt x="5" y="43"/>
                      <a:pt x="3" y="43"/>
                      <a:pt x="2" y="43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1" y="61"/>
                      <a:pt x="2" y="62"/>
                      <a:pt x="4" y="62"/>
                    </a:cubicBezTo>
                    <a:cubicBezTo>
                      <a:pt x="6" y="62"/>
                      <a:pt x="7" y="62"/>
                      <a:pt x="9" y="62"/>
                    </a:cubicBezTo>
                    <a:cubicBezTo>
                      <a:pt x="22" y="60"/>
                      <a:pt x="27" y="44"/>
                      <a:pt x="28" y="34"/>
                    </a:cubicBezTo>
                    <a:cubicBezTo>
                      <a:pt x="29" y="28"/>
                      <a:pt x="29" y="21"/>
                      <a:pt x="27" y="15"/>
                    </a:cubicBezTo>
                    <a:cubicBezTo>
                      <a:pt x="25" y="9"/>
                      <a:pt x="20" y="1"/>
                      <a:pt x="12" y="0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80147" tIns="40074" rIns="80147" bIns="40074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47" name="Freeform 40"/>
              <p:cNvSpPr>
                <a:spLocks/>
              </p:cNvSpPr>
              <p:nvPr/>
            </p:nvSpPr>
            <p:spPr bwMode="auto">
              <a:xfrm>
                <a:off x="777875" y="4092576"/>
                <a:ext cx="357188" cy="554038"/>
              </a:xfrm>
              <a:custGeom>
                <a:avLst/>
                <a:gdLst>
                  <a:gd name="T0" fmla="*/ 87 w 94"/>
                  <a:gd name="T1" fmla="*/ 112 h 146"/>
                  <a:gd name="T2" fmla="*/ 63 w 94"/>
                  <a:gd name="T3" fmla="*/ 128 h 146"/>
                  <a:gd name="T4" fmla="*/ 8 w 94"/>
                  <a:gd name="T5" fmla="*/ 50 h 146"/>
                  <a:gd name="T6" fmla="*/ 69 w 94"/>
                  <a:gd name="T7" fmla="*/ 9 h 146"/>
                  <a:gd name="T8" fmla="*/ 93 w 94"/>
                  <a:gd name="T9" fmla="*/ 43 h 146"/>
                  <a:gd name="T10" fmla="*/ 94 w 94"/>
                  <a:gd name="T11" fmla="*/ 30 h 146"/>
                  <a:gd name="T12" fmla="*/ 77 w 94"/>
                  <a:gd name="T13" fmla="*/ 7 h 146"/>
                  <a:gd name="T14" fmla="*/ 60 w 94"/>
                  <a:gd name="T15" fmla="*/ 4 h 146"/>
                  <a:gd name="T16" fmla="*/ 7 w 94"/>
                  <a:gd name="T17" fmla="*/ 40 h 146"/>
                  <a:gd name="T18" fmla="*/ 4 w 94"/>
                  <a:gd name="T19" fmla="*/ 58 h 146"/>
                  <a:gd name="T20" fmla="*/ 61 w 94"/>
                  <a:gd name="T21" fmla="*/ 139 h 146"/>
                  <a:gd name="T22" fmla="*/ 78 w 94"/>
                  <a:gd name="T23" fmla="*/ 142 h 146"/>
                  <a:gd name="T24" fmla="*/ 85 w 94"/>
                  <a:gd name="T25" fmla="*/ 138 h 146"/>
                  <a:gd name="T26" fmla="*/ 87 w 94"/>
                  <a:gd name="T27" fmla="*/ 112 h 1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</a:cxnLst>
                <a:rect l="0" t="0" r="r" b="b"/>
                <a:pathLst>
                  <a:path w="94" h="146">
                    <a:moveTo>
                      <a:pt x="87" y="112"/>
                    </a:moveTo>
                    <a:cubicBezTo>
                      <a:pt x="63" y="128"/>
                      <a:pt x="63" y="128"/>
                      <a:pt x="63" y="128"/>
                    </a:cubicBezTo>
                    <a:cubicBezTo>
                      <a:pt x="8" y="50"/>
                      <a:pt x="8" y="50"/>
                      <a:pt x="8" y="50"/>
                    </a:cubicBezTo>
                    <a:cubicBezTo>
                      <a:pt x="69" y="9"/>
                      <a:pt x="69" y="9"/>
                      <a:pt x="69" y="9"/>
                    </a:cubicBezTo>
                    <a:cubicBezTo>
                      <a:pt x="93" y="43"/>
                      <a:pt x="93" y="43"/>
                      <a:pt x="93" y="43"/>
                    </a:cubicBezTo>
                    <a:cubicBezTo>
                      <a:pt x="94" y="30"/>
                      <a:pt x="94" y="30"/>
                      <a:pt x="94" y="30"/>
                    </a:cubicBezTo>
                    <a:cubicBezTo>
                      <a:pt x="77" y="7"/>
                      <a:pt x="77" y="7"/>
                      <a:pt x="77" y="7"/>
                    </a:cubicBezTo>
                    <a:cubicBezTo>
                      <a:pt x="73" y="1"/>
                      <a:pt x="66" y="0"/>
                      <a:pt x="60" y="4"/>
                    </a:cubicBezTo>
                    <a:cubicBezTo>
                      <a:pt x="7" y="40"/>
                      <a:pt x="7" y="40"/>
                      <a:pt x="7" y="40"/>
                    </a:cubicBezTo>
                    <a:cubicBezTo>
                      <a:pt x="1" y="44"/>
                      <a:pt x="0" y="52"/>
                      <a:pt x="4" y="58"/>
                    </a:cubicBezTo>
                    <a:cubicBezTo>
                      <a:pt x="61" y="139"/>
                      <a:pt x="61" y="139"/>
                      <a:pt x="61" y="139"/>
                    </a:cubicBezTo>
                    <a:cubicBezTo>
                      <a:pt x="65" y="145"/>
                      <a:pt x="72" y="146"/>
                      <a:pt x="78" y="142"/>
                    </a:cubicBezTo>
                    <a:cubicBezTo>
                      <a:pt x="85" y="138"/>
                      <a:pt x="85" y="138"/>
                      <a:pt x="85" y="138"/>
                    </a:cubicBezTo>
                    <a:lnTo>
                      <a:pt x="87" y="112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80147" tIns="40074" rIns="80147" bIns="40074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48" name="Freeform 41"/>
              <p:cNvSpPr>
                <a:spLocks/>
              </p:cNvSpPr>
              <p:nvPr/>
            </p:nvSpPr>
            <p:spPr bwMode="auto">
              <a:xfrm>
                <a:off x="1317625" y="4275139"/>
                <a:ext cx="230188" cy="265113"/>
              </a:xfrm>
              <a:custGeom>
                <a:avLst/>
                <a:gdLst>
                  <a:gd name="T0" fmla="*/ 28 w 61"/>
                  <a:gd name="T1" fmla="*/ 27 h 70"/>
                  <a:gd name="T2" fmla="*/ 24 w 61"/>
                  <a:gd name="T3" fmla="*/ 27 h 70"/>
                  <a:gd name="T4" fmla="*/ 14 w 61"/>
                  <a:gd name="T5" fmla="*/ 5 h 70"/>
                  <a:gd name="T6" fmla="*/ 5 w 61"/>
                  <a:gd name="T7" fmla="*/ 2 h 70"/>
                  <a:gd name="T8" fmla="*/ 2 w 61"/>
                  <a:gd name="T9" fmla="*/ 10 h 70"/>
                  <a:gd name="T10" fmla="*/ 20 w 61"/>
                  <a:gd name="T11" fmla="*/ 49 h 70"/>
                  <a:gd name="T12" fmla="*/ 18 w 61"/>
                  <a:gd name="T13" fmla="*/ 50 h 70"/>
                  <a:gd name="T14" fmla="*/ 11 w 61"/>
                  <a:gd name="T15" fmla="*/ 40 h 70"/>
                  <a:gd name="T16" fmla="*/ 8 w 61"/>
                  <a:gd name="T17" fmla="*/ 51 h 70"/>
                  <a:gd name="T18" fmla="*/ 35 w 61"/>
                  <a:gd name="T19" fmla="*/ 65 h 70"/>
                  <a:gd name="T20" fmla="*/ 38 w 61"/>
                  <a:gd name="T21" fmla="*/ 70 h 70"/>
                  <a:gd name="T22" fmla="*/ 58 w 61"/>
                  <a:gd name="T23" fmla="*/ 61 h 70"/>
                  <a:gd name="T24" fmla="*/ 56 w 61"/>
                  <a:gd name="T25" fmla="*/ 56 h 70"/>
                  <a:gd name="T26" fmla="*/ 56 w 61"/>
                  <a:gd name="T27" fmla="*/ 56 h 70"/>
                  <a:gd name="T28" fmla="*/ 61 w 61"/>
                  <a:gd name="T29" fmla="*/ 46 h 70"/>
                  <a:gd name="T30" fmla="*/ 52 w 61"/>
                  <a:gd name="T31" fmla="*/ 26 h 70"/>
                  <a:gd name="T32" fmla="*/ 28 w 61"/>
                  <a:gd name="T33" fmla="*/ 27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61" h="70">
                    <a:moveTo>
                      <a:pt x="28" y="27"/>
                    </a:moveTo>
                    <a:cubicBezTo>
                      <a:pt x="27" y="27"/>
                      <a:pt x="26" y="27"/>
                      <a:pt x="24" y="27"/>
                    </a:cubicBezTo>
                    <a:cubicBezTo>
                      <a:pt x="14" y="5"/>
                      <a:pt x="14" y="5"/>
                      <a:pt x="14" y="5"/>
                    </a:cubicBezTo>
                    <a:cubicBezTo>
                      <a:pt x="12" y="2"/>
                      <a:pt x="8" y="0"/>
                      <a:pt x="5" y="2"/>
                    </a:cubicBezTo>
                    <a:cubicBezTo>
                      <a:pt x="2" y="4"/>
                      <a:pt x="0" y="7"/>
                      <a:pt x="2" y="10"/>
                    </a:cubicBezTo>
                    <a:cubicBezTo>
                      <a:pt x="20" y="49"/>
                      <a:pt x="20" y="49"/>
                      <a:pt x="20" y="49"/>
                    </a:cubicBezTo>
                    <a:cubicBezTo>
                      <a:pt x="18" y="50"/>
                      <a:pt x="18" y="50"/>
                      <a:pt x="18" y="50"/>
                    </a:cubicBezTo>
                    <a:cubicBezTo>
                      <a:pt x="11" y="40"/>
                      <a:pt x="11" y="40"/>
                      <a:pt x="11" y="40"/>
                    </a:cubicBezTo>
                    <a:cubicBezTo>
                      <a:pt x="11" y="40"/>
                      <a:pt x="5" y="44"/>
                      <a:pt x="8" y="51"/>
                    </a:cubicBezTo>
                    <a:cubicBezTo>
                      <a:pt x="12" y="59"/>
                      <a:pt x="23" y="65"/>
                      <a:pt x="35" y="65"/>
                    </a:cubicBezTo>
                    <a:cubicBezTo>
                      <a:pt x="38" y="70"/>
                      <a:pt x="38" y="70"/>
                      <a:pt x="38" y="70"/>
                    </a:cubicBezTo>
                    <a:cubicBezTo>
                      <a:pt x="58" y="61"/>
                      <a:pt x="58" y="61"/>
                      <a:pt x="58" y="61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56" y="56"/>
                      <a:pt x="56" y="56"/>
                      <a:pt x="56" y="56"/>
                    </a:cubicBezTo>
                    <a:cubicBezTo>
                      <a:pt x="61" y="46"/>
                      <a:pt x="61" y="46"/>
                      <a:pt x="61" y="46"/>
                    </a:cubicBezTo>
                    <a:cubicBezTo>
                      <a:pt x="52" y="26"/>
                      <a:pt x="52" y="26"/>
                      <a:pt x="52" y="26"/>
                    </a:cubicBezTo>
                    <a:lnTo>
                      <a:pt x="28" y="27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80147" tIns="40074" rIns="80147" bIns="40074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49" name="Freeform 42"/>
              <p:cNvSpPr>
                <a:spLocks noEditPoints="1"/>
              </p:cNvSpPr>
              <p:nvPr/>
            </p:nvSpPr>
            <p:spPr bwMode="auto">
              <a:xfrm>
                <a:off x="1150938" y="4146551"/>
                <a:ext cx="314325" cy="511175"/>
              </a:xfrm>
              <a:custGeom>
                <a:avLst/>
                <a:gdLst>
                  <a:gd name="T0" fmla="*/ 74 w 83"/>
                  <a:gd name="T1" fmla="*/ 108 h 135"/>
                  <a:gd name="T2" fmla="*/ 67 w 83"/>
                  <a:gd name="T3" fmla="*/ 106 h 135"/>
                  <a:gd name="T4" fmla="*/ 67 w 83"/>
                  <a:gd name="T5" fmla="*/ 113 h 135"/>
                  <a:gd name="T6" fmla="*/ 10 w 83"/>
                  <a:gd name="T7" fmla="*/ 108 h 135"/>
                  <a:gd name="T8" fmla="*/ 17 w 83"/>
                  <a:gd name="T9" fmla="*/ 20 h 135"/>
                  <a:gd name="T10" fmla="*/ 74 w 83"/>
                  <a:gd name="T11" fmla="*/ 24 h 135"/>
                  <a:gd name="T12" fmla="*/ 72 w 83"/>
                  <a:gd name="T13" fmla="*/ 48 h 135"/>
                  <a:gd name="T14" fmla="*/ 74 w 83"/>
                  <a:gd name="T15" fmla="*/ 52 h 135"/>
                  <a:gd name="T16" fmla="*/ 79 w 83"/>
                  <a:gd name="T17" fmla="*/ 52 h 135"/>
                  <a:gd name="T18" fmla="*/ 83 w 83"/>
                  <a:gd name="T19" fmla="*/ 11 h 135"/>
                  <a:gd name="T20" fmla="*/ 78 w 83"/>
                  <a:gd name="T21" fmla="*/ 6 h 135"/>
                  <a:gd name="T22" fmla="*/ 16 w 83"/>
                  <a:gd name="T23" fmla="*/ 0 h 135"/>
                  <a:gd name="T24" fmla="*/ 11 w 83"/>
                  <a:gd name="T25" fmla="*/ 5 h 135"/>
                  <a:gd name="T26" fmla="*/ 1 w 83"/>
                  <a:gd name="T27" fmla="*/ 124 h 135"/>
                  <a:gd name="T28" fmla="*/ 6 w 83"/>
                  <a:gd name="T29" fmla="*/ 130 h 135"/>
                  <a:gd name="T30" fmla="*/ 67 w 83"/>
                  <a:gd name="T31" fmla="*/ 135 h 135"/>
                  <a:gd name="T32" fmla="*/ 73 w 83"/>
                  <a:gd name="T33" fmla="*/ 130 h 135"/>
                  <a:gd name="T34" fmla="*/ 75 w 83"/>
                  <a:gd name="T35" fmla="*/ 110 h 135"/>
                  <a:gd name="T36" fmla="*/ 74 w 83"/>
                  <a:gd name="T37" fmla="*/ 108 h 135"/>
                  <a:gd name="T38" fmla="*/ 36 w 83"/>
                  <a:gd name="T39" fmla="*/ 9 h 135"/>
                  <a:gd name="T40" fmla="*/ 57 w 83"/>
                  <a:gd name="T41" fmla="*/ 11 h 135"/>
                  <a:gd name="T42" fmla="*/ 59 w 83"/>
                  <a:gd name="T43" fmla="*/ 13 h 135"/>
                  <a:gd name="T44" fmla="*/ 57 w 83"/>
                  <a:gd name="T45" fmla="*/ 15 h 135"/>
                  <a:gd name="T46" fmla="*/ 35 w 83"/>
                  <a:gd name="T47" fmla="*/ 13 h 135"/>
                  <a:gd name="T48" fmla="*/ 34 w 83"/>
                  <a:gd name="T49" fmla="*/ 11 h 135"/>
                  <a:gd name="T50" fmla="*/ 36 w 83"/>
                  <a:gd name="T51" fmla="*/ 9 h 135"/>
                  <a:gd name="T52" fmla="*/ 36 w 83"/>
                  <a:gd name="T53" fmla="*/ 127 h 135"/>
                  <a:gd name="T54" fmla="*/ 37 w 83"/>
                  <a:gd name="T55" fmla="*/ 115 h 135"/>
                  <a:gd name="T56" fmla="*/ 36 w 83"/>
                  <a:gd name="T57" fmla="*/ 127 h 13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</a:cxnLst>
                <a:rect l="0" t="0" r="r" b="b"/>
                <a:pathLst>
                  <a:path w="83" h="135">
                    <a:moveTo>
                      <a:pt x="74" y="108"/>
                    </a:moveTo>
                    <a:cubicBezTo>
                      <a:pt x="71" y="107"/>
                      <a:pt x="69" y="107"/>
                      <a:pt x="67" y="106"/>
                    </a:cubicBezTo>
                    <a:cubicBezTo>
                      <a:pt x="67" y="113"/>
                      <a:pt x="67" y="113"/>
                      <a:pt x="67" y="113"/>
                    </a:cubicBezTo>
                    <a:cubicBezTo>
                      <a:pt x="10" y="108"/>
                      <a:pt x="10" y="108"/>
                      <a:pt x="10" y="108"/>
                    </a:cubicBezTo>
                    <a:cubicBezTo>
                      <a:pt x="17" y="20"/>
                      <a:pt x="17" y="20"/>
                      <a:pt x="17" y="20"/>
                    </a:cubicBezTo>
                    <a:cubicBezTo>
                      <a:pt x="74" y="24"/>
                      <a:pt x="74" y="24"/>
                      <a:pt x="74" y="24"/>
                    </a:cubicBezTo>
                    <a:cubicBezTo>
                      <a:pt x="72" y="48"/>
                      <a:pt x="72" y="48"/>
                      <a:pt x="72" y="48"/>
                    </a:cubicBezTo>
                    <a:cubicBezTo>
                      <a:pt x="74" y="52"/>
                      <a:pt x="74" y="52"/>
                      <a:pt x="74" y="52"/>
                    </a:cubicBezTo>
                    <a:cubicBezTo>
                      <a:pt x="75" y="52"/>
                      <a:pt x="77" y="52"/>
                      <a:pt x="79" y="52"/>
                    </a:cubicBezTo>
                    <a:cubicBezTo>
                      <a:pt x="83" y="11"/>
                      <a:pt x="83" y="11"/>
                      <a:pt x="83" y="11"/>
                    </a:cubicBezTo>
                    <a:cubicBezTo>
                      <a:pt x="83" y="8"/>
                      <a:pt x="81" y="6"/>
                      <a:pt x="78" y="6"/>
                    </a:cubicBezTo>
                    <a:cubicBezTo>
                      <a:pt x="16" y="0"/>
                      <a:pt x="16" y="0"/>
                      <a:pt x="16" y="0"/>
                    </a:cubicBezTo>
                    <a:cubicBezTo>
                      <a:pt x="13" y="0"/>
                      <a:pt x="11" y="2"/>
                      <a:pt x="11" y="5"/>
                    </a:cubicBezTo>
                    <a:cubicBezTo>
                      <a:pt x="1" y="124"/>
                      <a:pt x="1" y="124"/>
                      <a:pt x="1" y="124"/>
                    </a:cubicBezTo>
                    <a:cubicBezTo>
                      <a:pt x="0" y="127"/>
                      <a:pt x="3" y="130"/>
                      <a:pt x="6" y="130"/>
                    </a:cubicBezTo>
                    <a:cubicBezTo>
                      <a:pt x="67" y="135"/>
                      <a:pt x="67" y="135"/>
                      <a:pt x="67" y="135"/>
                    </a:cubicBezTo>
                    <a:cubicBezTo>
                      <a:pt x="70" y="135"/>
                      <a:pt x="73" y="133"/>
                      <a:pt x="73" y="130"/>
                    </a:cubicBezTo>
                    <a:cubicBezTo>
                      <a:pt x="75" y="110"/>
                      <a:pt x="75" y="110"/>
                      <a:pt x="75" y="110"/>
                    </a:cubicBezTo>
                    <a:lnTo>
                      <a:pt x="74" y="108"/>
                    </a:lnTo>
                    <a:close/>
                    <a:moveTo>
                      <a:pt x="36" y="9"/>
                    </a:moveTo>
                    <a:cubicBezTo>
                      <a:pt x="57" y="11"/>
                      <a:pt x="57" y="11"/>
                      <a:pt x="57" y="11"/>
                    </a:cubicBezTo>
                    <a:cubicBezTo>
                      <a:pt x="58" y="11"/>
                      <a:pt x="59" y="12"/>
                      <a:pt x="59" y="13"/>
                    </a:cubicBezTo>
                    <a:cubicBezTo>
                      <a:pt x="59" y="14"/>
                      <a:pt x="58" y="15"/>
                      <a:pt x="57" y="15"/>
                    </a:cubicBezTo>
                    <a:cubicBezTo>
                      <a:pt x="35" y="13"/>
                      <a:pt x="35" y="13"/>
                      <a:pt x="35" y="13"/>
                    </a:cubicBezTo>
                    <a:cubicBezTo>
                      <a:pt x="34" y="13"/>
                      <a:pt x="33" y="12"/>
                      <a:pt x="34" y="11"/>
                    </a:cubicBezTo>
                    <a:cubicBezTo>
                      <a:pt x="34" y="10"/>
                      <a:pt x="35" y="9"/>
                      <a:pt x="36" y="9"/>
                    </a:cubicBezTo>
                    <a:close/>
                    <a:moveTo>
                      <a:pt x="36" y="127"/>
                    </a:moveTo>
                    <a:cubicBezTo>
                      <a:pt x="29" y="126"/>
                      <a:pt x="30" y="115"/>
                      <a:pt x="37" y="115"/>
                    </a:cubicBezTo>
                    <a:cubicBezTo>
                      <a:pt x="44" y="116"/>
                      <a:pt x="43" y="127"/>
                      <a:pt x="36" y="127"/>
                    </a:cubicBez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  <a:extLst/>
            </p:spPr>
            <p:txBody>
              <a:bodyPr vert="horz" wrap="square" lIns="80147" tIns="40074" rIns="80147" bIns="40074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  <p:sp>
          <p:nvSpPr>
            <p:cNvPr id="50" name="TextBox 49"/>
            <p:cNvSpPr txBox="1"/>
            <p:nvPr/>
          </p:nvSpPr>
          <p:spPr>
            <a:xfrm>
              <a:off x="2913954" y="6203320"/>
              <a:ext cx="2102761" cy="750071"/>
            </a:xfrm>
            <a:prstGeom prst="rect">
              <a:avLst/>
            </a:prstGeom>
            <a:noFill/>
          </p:spPr>
          <p:txBody>
            <a:bodyPr wrap="square" lIns="0" tIns="0" rIns="0" bIns="0" rtlCol="0" anchor="ctr">
              <a:noAutofit/>
            </a:bodyPr>
            <a:lstStyle/>
            <a:p>
              <a:pPr algn="ctr"/>
              <a:r>
                <a:rPr lang="es-ES" sz="1200" dirty="0" smtClean="0">
                  <a:solidFill>
                    <a:srgbClr val="C2672E"/>
                  </a:solidFill>
                  <a:latin typeface="Georgia" pitchFamily="18" charset="0"/>
                </a:rPr>
                <a:t>Soporte: soporte.cde@cgpe.es 910 60 25 58</a:t>
              </a:r>
            </a:p>
          </p:txBody>
        </p:sp>
      </p:grpSp>
      <p:pic>
        <p:nvPicPr>
          <p:cNvPr id="90" name="Picture 2" descr="http://www.icpg.es/admin/photo/news/1383558751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478" r="3014" b="13294"/>
          <a:stretch/>
        </p:blipFill>
        <p:spPr bwMode="auto">
          <a:xfrm>
            <a:off x="6426217" y="182840"/>
            <a:ext cx="1113850" cy="70048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1" name="Content Placeholder 9"/>
          <p:cNvPicPr>
            <a:picLocks noGrp="1" noChangeAspect="1"/>
          </p:cNvPicPr>
          <p:nvPr>
            <p:ph sz="quarter" idx="15"/>
          </p:nvPr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967549" y="91096"/>
            <a:ext cx="868143" cy="883976"/>
          </a:xfrm>
        </p:spPr>
      </p:pic>
      <p:grpSp>
        <p:nvGrpSpPr>
          <p:cNvPr id="92" name="Grupo 91"/>
          <p:cNvGrpSpPr/>
          <p:nvPr/>
        </p:nvGrpSpPr>
        <p:grpSpPr>
          <a:xfrm>
            <a:off x="11450120" y="2091953"/>
            <a:ext cx="458182" cy="458182"/>
            <a:chOff x="511200" y="3975584"/>
            <a:chExt cx="554400" cy="554400"/>
          </a:xfrm>
        </p:grpSpPr>
        <p:sp>
          <p:nvSpPr>
            <p:cNvPr id="93" name="Oval 67"/>
            <p:cNvSpPr>
              <a:spLocks noChangeArrowheads="1"/>
            </p:cNvSpPr>
            <p:nvPr/>
          </p:nvSpPr>
          <p:spPr bwMode="auto">
            <a:xfrm>
              <a:off x="511200" y="3975584"/>
              <a:ext cx="554400" cy="554400"/>
            </a:xfrm>
            <a:prstGeom prst="ellipse">
              <a:avLst/>
            </a:prstGeom>
            <a:solidFill>
              <a:srgbClr val="223C6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grpSp>
          <p:nvGrpSpPr>
            <p:cNvPr id="94" name="Group 942"/>
            <p:cNvGrpSpPr>
              <a:grpSpLocks noChangeAspect="1"/>
            </p:cNvGrpSpPr>
            <p:nvPr/>
          </p:nvGrpSpPr>
          <p:grpSpPr bwMode="auto">
            <a:xfrm>
              <a:off x="616317" y="4055341"/>
              <a:ext cx="344167" cy="394886"/>
              <a:chOff x="2784" y="1834"/>
              <a:chExt cx="380" cy="436"/>
            </a:xfrm>
          </p:grpSpPr>
          <p:sp>
            <p:nvSpPr>
              <p:cNvPr id="95" name="AutoShape 941"/>
              <p:cNvSpPr>
                <a:spLocks noChangeAspect="1" noChangeArrowheads="1" noTextEdit="1"/>
              </p:cNvSpPr>
              <p:nvPr/>
            </p:nvSpPr>
            <p:spPr bwMode="auto">
              <a:xfrm>
                <a:off x="2784" y="1834"/>
                <a:ext cx="380" cy="43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  <p:sp>
            <p:nvSpPr>
              <p:cNvPr id="96" name="Freeform 943"/>
              <p:cNvSpPr>
                <a:spLocks noEditPoints="1"/>
              </p:cNvSpPr>
              <p:nvPr/>
            </p:nvSpPr>
            <p:spPr bwMode="auto">
              <a:xfrm>
                <a:off x="2779" y="1834"/>
                <a:ext cx="390" cy="441"/>
              </a:xfrm>
              <a:custGeom>
                <a:avLst/>
                <a:gdLst>
                  <a:gd name="T0" fmla="*/ 40 w 80"/>
                  <a:gd name="T1" fmla="*/ 0 h 91"/>
                  <a:gd name="T2" fmla="*/ 0 w 80"/>
                  <a:gd name="T3" fmla="*/ 40 h 91"/>
                  <a:gd name="T4" fmla="*/ 21 w 80"/>
                  <a:gd name="T5" fmla="*/ 75 h 91"/>
                  <a:gd name="T6" fmla="*/ 20 w 80"/>
                  <a:gd name="T7" fmla="*/ 91 h 91"/>
                  <a:gd name="T8" fmla="*/ 39 w 80"/>
                  <a:gd name="T9" fmla="*/ 80 h 91"/>
                  <a:gd name="T10" fmla="*/ 40 w 80"/>
                  <a:gd name="T11" fmla="*/ 80 h 91"/>
                  <a:gd name="T12" fmla="*/ 80 w 80"/>
                  <a:gd name="T13" fmla="*/ 40 h 91"/>
                  <a:gd name="T14" fmla="*/ 40 w 80"/>
                  <a:gd name="T15" fmla="*/ 0 h 91"/>
                  <a:gd name="T16" fmla="*/ 45 w 80"/>
                  <a:gd name="T17" fmla="*/ 63 h 91"/>
                  <a:gd name="T18" fmla="*/ 35 w 80"/>
                  <a:gd name="T19" fmla="*/ 63 h 91"/>
                  <a:gd name="T20" fmla="*/ 35 w 80"/>
                  <a:gd name="T21" fmla="*/ 30 h 91"/>
                  <a:gd name="T22" fmla="*/ 45 w 80"/>
                  <a:gd name="T23" fmla="*/ 30 h 91"/>
                  <a:gd name="T24" fmla="*/ 45 w 80"/>
                  <a:gd name="T25" fmla="*/ 63 h 91"/>
                  <a:gd name="T26" fmla="*/ 40 w 80"/>
                  <a:gd name="T27" fmla="*/ 26 h 91"/>
                  <a:gd name="T28" fmla="*/ 35 w 80"/>
                  <a:gd name="T29" fmla="*/ 21 h 91"/>
                  <a:gd name="T30" fmla="*/ 40 w 80"/>
                  <a:gd name="T31" fmla="*/ 16 h 91"/>
                  <a:gd name="T32" fmla="*/ 45 w 80"/>
                  <a:gd name="T33" fmla="*/ 21 h 91"/>
                  <a:gd name="T34" fmla="*/ 40 w 80"/>
                  <a:gd name="T35" fmla="*/ 26 h 91"/>
                  <a:gd name="T36" fmla="*/ 40 w 80"/>
                  <a:gd name="T37" fmla="*/ 26 h 91"/>
                  <a:gd name="T38" fmla="*/ 40 w 80"/>
                  <a:gd name="T39" fmla="*/ 26 h 9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80" h="91">
                    <a:moveTo>
                      <a:pt x="40" y="0"/>
                    </a:moveTo>
                    <a:cubicBezTo>
                      <a:pt x="18" y="0"/>
                      <a:pt x="0" y="18"/>
                      <a:pt x="0" y="40"/>
                    </a:cubicBezTo>
                    <a:cubicBezTo>
                      <a:pt x="0" y="55"/>
                      <a:pt x="8" y="68"/>
                      <a:pt x="21" y="75"/>
                    </a:cubicBezTo>
                    <a:cubicBezTo>
                      <a:pt x="20" y="91"/>
                      <a:pt x="20" y="91"/>
                      <a:pt x="20" y="91"/>
                    </a:cubicBezTo>
                    <a:cubicBezTo>
                      <a:pt x="39" y="80"/>
                      <a:pt x="39" y="80"/>
                      <a:pt x="39" y="80"/>
                    </a:cubicBezTo>
                    <a:cubicBezTo>
                      <a:pt x="39" y="80"/>
                      <a:pt x="40" y="80"/>
                      <a:pt x="40" y="80"/>
                    </a:cubicBezTo>
                    <a:cubicBezTo>
                      <a:pt x="62" y="80"/>
                      <a:pt x="80" y="62"/>
                      <a:pt x="80" y="40"/>
                    </a:cubicBezTo>
                    <a:cubicBezTo>
                      <a:pt x="80" y="18"/>
                      <a:pt x="62" y="0"/>
                      <a:pt x="40" y="0"/>
                    </a:cubicBezTo>
                    <a:close/>
                    <a:moveTo>
                      <a:pt x="45" y="63"/>
                    </a:moveTo>
                    <a:cubicBezTo>
                      <a:pt x="35" y="63"/>
                      <a:pt x="35" y="63"/>
                      <a:pt x="35" y="63"/>
                    </a:cubicBezTo>
                    <a:cubicBezTo>
                      <a:pt x="35" y="30"/>
                      <a:pt x="35" y="30"/>
                      <a:pt x="35" y="30"/>
                    </a:cubicBezTo>
                    <a:cubicBezTo>
                      <a:pt x="45" y="30"/>
                      <a:pt x="45" y="30"/>
                      <a:pt x="45" y="30"/>
                    </a:cubicBezTo>
                    <a:lnTo>
                      <a:pt x="45" y="63"/>
                    </a:lnTo>
                    <a:close/>
                    <a:moveTo>
                      <a:pt x="40" y="26"/>
                    </a:moveTo>
                    <a:cubicBezTo>
                      <a:pt x="37" y="26"/>
                      <a:pt x="35" y="24"/>
                      <a:pt x="35" y="21"/>
                    </a:cubicBezTo>
                    <a:cubicBezTo>
                      <a:pt x="35" y="18"/>
                      <a:pt x="37" y="16"/>
                      <a:pt x="40" y="16"/>
                    </a:cubicBezTo>
                    <a:cubicBezTo>
                      <a:pt x="43" y="16"/>
                      <a:pt x="45" y="18"/>
                      <a:pt x="45" y="21"/>
                    </a:cubicBezTo>
                    <a:cubicBezTo>
                      <a:pt x="45" y="24"/>
                      <a:pt x="43" y="26"/>
                      <a:pt x="40" y="26"/>
                    </a:cubicBezTo>
                    <a:close/>
                    <a:moveTo>
                      <a:pt x="40" y="26"/>
                    </a:moveTo>
                    <a:cubicBezTo>
                      <a:pt x="40" y="26"/>
                      <a:pt x="40" y="26"/>
                      <a:pt x="40" y="26"/>
                    </a:cubicBezTo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s-ES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505383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5" name="Rectangle 94"/>
          <p:cNvSpPr/>
          <p:nvPr/>
        </p:nvSpPr>
        <p:spPr bwMode="ltGray">
          <a:xfrm>
            <a:off x="504561" y="6453234"/>
            <a:ext cx="504056" cy="288032"/>
          </a:xfrm>
          <a:prstGeom prst="rect">
            <a:avLst/>
          </a:prstGeom>
          <a:solidFill>
            <a:schemeClr val="bg2"/>
          </a:solid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7" name="Rectangle 6"/>
          <p:cNvSpPr/>
          <p:nvPr/>
        </p:nvSpPr>
        <p:spPr bwMode="ltGray">
          <a:xfrm>
            <a:off x="449141" y="512618"/>
            <a:ext cx="11562748" cy="290126"/>
          </a:xfrm>
          <a:prstGeom prst="rect">
            <a:avLst/>
          </a:prstGeom>
          <a:solidFill>
            <a:schemeClr val="bg2"/>
          </a:solidFill>
          <a:ln w="3175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pic>
        <p:nvPicPr>
          <p:cNvPr id="37" name="Picture 2" descr="http://bluecell.es/clientes/procuradores/img/sede-actual/sede8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0" r="1"/>
          <a:stretch/>
        </p:blipFill>
        <p:spPr bwMode="auto">
          <a:xfrm>
            <a:off x="0" y="0"/>
            <a:ext cx="12192001" cy="685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Parallelogram 1"/>
          <p:cNvSpPr/>
          <p:nvPr/>
        </p:nvSpPr>
        <p:spPr bwMode="ltGray">
          <a:xfrm flipH="1">
            <a:off x="-284149" y="10633"/>
            <a:ext cx="12760296" cy="6858001"/>
          </a:xfrm>
          <a:prstGeom prst="parallelogram">
            <a:avLst>
              <a:gd name="adj" fmla="val 28464"/>
            </a:avLst>
          </a:prstGeom>
          <a:gradFill>
            <a:gsLst>
              <a:gs pos="18000">
                <a:srgbClr val="004D86">
                  <a:alpha val="70000"/>
                </a:srgbClr>
              </a:gs>
              <a:gs pos="0">
                <a:srgbClr val="002060">
                  <a:alpha val="70000"/>
                </a:srgbClr>
              </a:gs>
              <a:gs pos="48000">
                <a:srgbClr val="00589A">
                  <a:alpha val="70000"/>
                </a:srgbClr>
              </a:gs>
              <a:gs pos="81000">
                <a:srgbClr val="004D86">
                  <a:alpha val="70000"/>
                </a:srgbClr>
              </a:gs>
              <a:gs pos="100000">
                <a:srgbClr val="002060">
                  <a:lumMod val="100000"/>
                  <a:alpha val="70000"/>
                </a:srgbClr>
              </a:gs>
            </a:gsLst>
            <a:lin ang="5400000" scaled="1"/>
          </a:gradFill>
          <a:ln w="3175"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18" name="Title 1"/>
          <p:cNvSpPr txBox="1">
            <a:spLocks/>
          </p:cNvSpPr>
          <p:nvPr/>
        </p:nvSpPr>
        <p:spPr>
          <a:xfrm>
            <a:off x="1341199" y="897255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acreditar la presentación de cualquier escrito ante las Administraciones Públicas o entidades privadas.</a:t>
            </a:r>
          </a:p>
        </p:txBody>
      </p:sp>
      <p:sp>
        <p:nvSpPr>
          <p:cNvPr id="19" name="Title 1"/>
          <p:cNvSpPr txBox="1">
            <a:spLocks/>
          </p:cNvSpPr>
          <p:nvPr/>
        </p:nvSpPr>
        <p:spPr>
          <a:xfrm>
            <a:off x="3012232" y="110151"/>
            <a:ext cx="6167536" cy="62222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600" b="1" dirty="0" smtClean="0">
                <a:solidFill>
                  <a:schemeClr val="bg2"/>
                </a:solidFill>
                <a:latin typeface="Georgia" panose="02040502050405020303" pitchFamily="18" charset="0"/>
              </a:rPr>
              <a:t>¿Para qué puedo utilizar la plataforma de certificación de envíos?</a:t>
            </a:r>
            <a:endParaRPr lang="es-ES" sz="1600" b="1" dirty="0">
              <a:solidFill>
                <a:schemeClr val="bg2"/>
              </a:solidFill>
              <a:latin typeface="Georgia" panose="02040502050405020303" pitchFamily="18" charset="0"/>
            </a:endParaRPr>
          </a:p>
        </p:txBody>
      </p:sp>
      <p:sp>
        <p:nvSpPr>
          <p:cNvPr id="33" name="Title 1"/>
          <p:cNvSpPr txBox="1">
            <a:spLocks/>
          </p:cNvSpPr>
          <p:nvPr/>
        </p:nvSpPr>
        <p:spPr>
          <a:xfrm>
            <a:off x="1693172" y="5714713"/>
            <a:ext cx="8805656" cy="62222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s-ES" sz="1300" b="1" dirty="0" smtClean="0">
                <a:solidFill>
                  <a:schemeClr val="bg2"/>
                </a:solidFill>
                <a:latin typeface="Georgia" panose="02040502050405020303" pitchFamily="18" charset="0"/>
              </a:rPr>
              <a:t>En definitiva, se trata de un sistema que facilita tu trabajo diario, aportándote seguridad y ahorrándote tiempo y dinero</a:t>
            </a:r>
            <a:r>
              <a:rPr lang="es-ES" sz="1300" b="1" dirty="0" smtClean="0">
                <a:solidFill>
                  <a:schemeClr val="bg2"/>
                </a:solidFill>
                <a:latin typeface="Georgia" panose="02040502050405020303" pitchFamily="18" charset="0"/>
              </a:rPr>
              <a:t>.</a:t>
            </a:r>
            <a:endParaRPr lang="es-ES" sz="1300" b="1" dirty="0">
              <a:solidFill>
                <a:schemeClr val="bg2"/>
              </a:solidFill>
              <a:latin typeface="Georgia" panose="02040502050405020303" pitchFamily="18" charset="0"/>
            </a:endParaRPr>
          </a:p>
        </p:txBody>
      </p:sp>
      <p:sp>
        <p:nvSpPr>
          <p:cNvPr id="3" name="Rectangle 2"/>
          <p:cNvSpPr/>
          <p:nvPr/>
        </p:nvSpPr>
        <p:spPr bwMode="ltGray">
          <a:xfrm>
            <a:off x="-1434114" y="-221674"/>
            <a:ext cx="1417320" cy="3257542"/>
          </a:xfrm>
          <a:prstGeom prst="rect">
            <a:avLst/>
          </a:prstGeom>
          <a:solidFill>
            <a:srgbClr val="F5F5F5"/>
          </a:solidFill>
          <a:ln w="3175">
            <a:solidFill>
              <a:srgbClr val="F5F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36" name="Rectangle 35"/>
          <p:cNvSpPr/>
          <p:nvPr/>
        </p:nvSpPr>
        <p:spPr bwMode="ltGray">
          <a:xfrm>
            <a:off x="12207239" y="3713546"/>
            <a:ext cx="1417320" cy="3257542"/>
          </a:xfrm>
          <a:prstGeom prst="rect">
            <a:avLst/>
          </a:prstGeom>
          <a:solidFill>
            <a:srgbClr val="F5F5F5"/>
          </a:solidFill>
          <a:ln w="3175">
            <a:solidFill>
              <a:srgbClr val="F5F5F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 err="1" smtClean="0">
              <a:solidFill>
                <a:schemeClr val="bg1"/>
              </a:solidFill>
              <a:latin typeface="Georgia" pitchFamily="18" charset="0"/>
            </a:endParaRPr>
          </a:p>
        </p:txBody>
      </p:sp>
      <p:sp>
        <p:nvSpPr>
          <p:cNvPr id="20" name="Title 1"/>
          <p:cNvSpPr txBox="1">
            <a:spLocks/>
          </p:cNvSpPr>
          <p:nvPr/>
        </p:nvSpPr>
        <p:spPr>
          <a:xfrm>
            <a:off x="6160328" y="1965604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endParaRPr lang="es-ES" sz="1300" dirty="0">
              <a:solidFill>
                <a:schemeClr val="bg2"/>
              </a:solidFill>
              <a:latin typeface="Georgia" panose="02040502050405020303" pitchFamily="18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>
          <a:xfrm>
            <a:off x="6160328" y="2316526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presentar reclamaciones 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económicas por falta de ingresos</a:t>
            </a: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, 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de pagos </a:t>
            </a: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o recaudaciones. 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es-ES" sz="1300" dirty="0">
              <a:solidFill>
                <a:schemeClr val="bg2"/>
              </a:solidFill>
              <a:latin typeface="Georgia" panose="02040502050405020303" pitchFamily="18" charset="0"/>
            </a:endParaRPr>
          </a:p>
        </p:txBody>
      </p:sp>
      <p:sp>
        <p:nvSpPr>
          <p:cNvPr id="22" name="Title 1"/>
          <p:cNvSpPr txBox="1">
            <a:spLocks/>
          </p:cNvSpPr>
          <p:nvPr/>
        </p:nvSpPr>
        <p:spPr>
          <a:xfrm>
            <a:off x="6160328" y="2922812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acreditar la renuncia voluntaria ante un cliente en el ejercicio de la representación en un proceso judicial.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es-ES" sz="1300" dirty="0">
              <a:solidFill>
                <a:schemeClr val="bg2"/>
              </a:solidFill>
              <a:latin typeface="Georgia" panose="02040502050405020303" pitchFamily="18" charset="0"/>
            </a:endParaRPr>
          </a:p>
        </p:txBody>
      </p:sp>
      <p:sp>
        <p:nvSpPr>
          <p:cNvPr id="23" name="Title 1"/>
          <p:cNvSpPr txBox="1">
            <a:spLocks/>
          </p:cNvSpPr>
          <p:nvPr/>
        </p:nvSpPr>
        <p:spPr>
          <a:xfrm>
            <a:off x="6160328" y="3494027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c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omunicarme </a:t>
            </a: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con 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mis </a:t>
            </a: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clientes o terceros mediante notificaciones electrónicas 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certificadas</a:t>
            </a: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.</a:t>
            </a:r>
          </a:p>
        </p:txBody>
      </p:sp>
      <p:sp>
        <p:nvSpPr>
          <p:cNvPr id="24" name="Title 1"/>
          <p:cNvSpPr txBox="1">
            <a:spLocks/>
          </p:cNvSpPr>
          <p:nvPr/>
        </p:nvSpPr>
        <p:spPr>
          <a:xfrm>
            <a:off x="6160328" y="4098654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acreditar 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la realización de </a:t>
            </a: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comunicaciones electrónicas mediante SMS y FAX.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es-ES" sz="1300" dirty="0">
              <a:solidFill>
                <a:schemeClr val="bg2"/>
              </a:solidFill>
              <a:latin typeface="Georgia" panose="02040502050405020303" pitchFamily="18" charset="0"/>
            </a:endParaRPr>
          </a:p>
        </p:txBody>
      </p:sp>
      <p:sp>
        <p:nvSpPr>
          <p:cNvPr id="25" name="Title 1"/>
          <p:cNvSpPr txBox="1">
            <a:spLocks/>
          </p:cNvSpPr>
          <p:nvPr/>
        </p:nvSpPr>
        <p:spPr>
          <a:xfrm>
            <a:off x="6160328" y="4879912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285750" indent="-285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ü"/>
              <a:defRPr sz="1300">
                <a:solidFill>
                  <a:schemeClr val="bg2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s-ES" dirty="0"/>
              <a:t>Para ofrecer a </a:t>
            </a:r>
            <a:r>
              <a:rPr lang="es-ES" dirty="0" smtClean="0"/>
              <a:t>mis clientes </a:t>
            </a:r>
            <a:r>
              <a:rPr lang="es-ES" dirty="0"/>
              <a:t>un servicio de comunicación electrónica certificada, dotado de mayor seguridad y más económico que el servicio de burofax.</a:t>
            </a:r>
          </a:p>
          <a:p>
            <a:endParaRPr lang="es-ES" dirty="0"/>
          </a:p>
        </p:txBody>
      </p:sp>
      <p:sp>
        <p:nvSpPr>
          <p:cNvPr id="26" name="Title 1"/>
          <p:cNvSpPr txBox="1">
            <a:spLocks/>
          </p:cNvSpPr>
          <p:nvPr/>
        </p:nvSpPr>
        <p:spPr>
          <a:xfrm>
            <a:off x="6160328" y="1555632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solicitar cobertura sanitaria, ayudas sociales, calificaciones de minusvalías, permisos de trabajo o permisos de residencia. 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es-ES" sz="1300" dirty="0">
              <a:solidFill>
                <a:schemeClr val="bg2"/>
              </a:solidFill>
              <a:latin typeface="Georgia" panose="02040502050405020303" pitchFamily="18" charset="0"/>
            </a:endParaRPr>
          </a:p>
        </p:txBody>
      </p:sp>
      <p:sp>
        <p:nvSpPr>
          <p:cNvPr id="38" name="Title 1"/>
          <p:cNvSpPr txBox="1">
            <a:spLocks/>
          </p:cNvSpPr>
          <p:nvPr/>
        </p:nvSpPr>
        <p:spPr>
          <a:xfrm>
            <a:off x="6167947" y="897255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285750" indent="-285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ü"/>
              <a:defRPr sz="1300">
                <a:solidFill>
                  <a:schemeClr val="bg2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r>
              <a:rPr lang="es-ES" dirty="0"/>
              <a:t>Para </a:t>
            </a:r>
            <a:r>
              <a:rPr lang="es-ES" dirty="0" smtClean="0"/>
              <a:t>acreditar que se ha comunicado un despido o una carta sancionadora.</a:t>
            </a:r>
            <a:endParaRPr lang="es-ES" dirty="0"/>
          </a:p>
          <a:p>
            <a:endParaRPr lang="es-ES" dirty="0"/>
          </a:p>
        </p:txBody>
      </p:sp>
      <p:sp>
        <p:nvSpPr>
          <p:cNvPr id="27" name="Title 1"/>
          <p:cNvSpPr txBox="1">
            <a:spLocks/>
          </p:cNvSpPr>
          <p:nvPr/>
        </p:nvSpPr>
        <p:spPr>
          <a:xfrm>
            <a:off x="1341199" y="1555632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acreditar la presentación de cualquier trámite que 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se realice ante </a:t>
            </a: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la Seguridad Social.</a:t>
            </a:r>
          </a:p>
          <a:p>
            <a:pPr marL="285750" indent="-285750" algn="l">
              <a:buFont typeface="Wingdings" panose="05000000000000000000" pitchFamily="2" charset="2"/>
              <a:buChar char="ü"/>
            </a:pPr>
            <a:endParaRPr lang="es-ES" sz="1300" dirty="0">
              <a:solidFill>
                <a:schemeClr val="bg2"/>
              </a:solidFill>
              <a:latin typeface="Georgia" panose="02040502050405020303" pitchFamily="18" charset="0"/>
            </a:endParaRPr>
          </a:p>
        </p:txBody>
      </p:sp>
      <p:sp>
        <p:nvSpPr>
          <p:cNvPr id="28" name="Title 1"/>
          <p:cNvSpPr txBox="1">
            <a:spLocks/>
          </p:cNvSpPr>
          <p:nvPr/>
        </p:nvSpPr>
        <p:spPr>
          <a:xfrm>
            <a:off x="1341199" y="2316526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presentar reclamaciones de derechos 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laborales, </a:t>
            </a: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de prestaciones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, de </a:t>
            </a: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cambios contractuales y recursos. </a:t>
            </a:r>
          </a:p>
        </p:txBody>
      </p:sp>
      <p:sp>
        <p:nvSpPr>
          <p:cNvPr id="29" name="Title 1"/>
          <p:cNvSpPr txBox="1">
            <a:spLocks/>
          </p:cNvSpPr>
          <p:nvPr/>
        </p:nvSpPr>
        <p:spPr>
          <a:xfrm>
            <a:off x="1341199" y="2922812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enviar informes de las auditorias 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y </a:t>
            </a: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los peritajes 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laborales.</a:t>
            </a:r>
            <a:endParaRPr lang="es-ES" sz="1300" dirty="0">
              <a:solidFill>
                <a:schemeClr val="bg2"/>
              </a:solidFill>
              <a:latin typeface="Georgia" panose="02040502050405020303" pitchFamily="18" charset="0"/>
            </a:endParaRPr>
          </a:p>
        </p:txBody>
      </p:sp>
      <p:sp>
        <p:nvSpPr>
          <p:cNvPr id="30" name="Title 1"/>
          <p:cNvSpPr txBox="1">
            <a:spLocks/>
          </p:cNvSpPr>
          <p:nvPr/>
        </p:nvSpPr>
        <p:spPr>
          <a:xfrm>
            <a:off x="1341199" y="3494027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acreditar la presentación de expedientes de jubilación, viudedad o incapacidad.</a:t>
            </a:r>
          </a:p>
        </p:txBody>
      </p:sp>
      <p:sp>
        <p:nvSpPr>
          <p:cNvPr id="31" name="Title 1"/>
          <p:cNvSpPr txBox="1">
            <a:spLocks/>
          </p:cNvSpPr>
          <p:nvPr/>
        </p:nvSpPr>
        <p:spPr>
          <a:xfrm>
            <a:off x="1341199" y="4098654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solicitar pensiones de incapacidad, invalidez, jubilación, viudedad, orfandad, maternidad o paternidad.</a:t>
            </a:r>
            <a:r>
              <a:rPr lang="es-ES" sz="1300" dirty="0">
                <a:latin typeface="Georgia" panose="02040502050405020303" pitchFamily="18" charset="0"/>
              </a:rPr>
              <a:t> </a:t>
            </a:r>
          </a:p>
        </p:txBody>
      </p:sp>
      <p:sp>
        <p:nvSpPr>
          <p:cNvPr id="39" name="Title 1"/>
          <p:cNvSpPr txBox="1">
            <a:spLocks/>
          </p:cNvSpPr>
          <p:nvPr/>
        </p:nvSpPr>
        <p:spPr>
          <a:xfrm>
            <a:off x="1341199" y="4879912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285750" indent="-285750" algn="l">
              <a:buFont typeface="Wingdings" panose="05000000000000000000" pitchFamily="2" charset="2"/>
              <a:buChar char="ü"/>
            </a:pPr>
            <a:r>
              <a:rPr lang="es-ES" sz="1300" dirty="0">
                <a:solidFill>
                  <a:schemeClr val="bg2"/>
                </a:solidFill>
                <a:latin typeface="Georgia" panose="02040502050405020303" pitchFamily="18" charset="0"/>
              </a:rPr>
              <a:t>Para </a:t>
            </a:r>
            <a:r>
              <a:rPr lang="es-ES" sz="1300" dirty="0" smtClean="0">
                <a:solidFill>
                  <a:schemeClr val="bg2"/>
                </a:solidFill>
                <a:latin typeface="Georgia" panose="02040502050405020303" pitchFamily="18" charset="0"/>
              </a:rPr>
              <a:t>comunicar la extinción de contratos, el envío de nóminas y cualquier otra comunicación en el ámbito laboral.</a:t>
            </a:r>
            <a:r>
              <a:rPr lang="es-ES" sz="1300" dirty="0" smtClean="0">
                <a:latin typeface="Georgia" panose="02040502050405020303" pitchFamily="18" charset="0"/>
              </a:rPr>
              <a:t> </a:t>
            </a:r>
            <a:endParaRPr lang="es-ES" sz="1300" dirty="0">
              <a:latin typeface="Georgia" panose="02040502050405020303" pitchFamily="18" charset="0"/>
            </a:endParaRPr>
          </a:p>
        </p:txBody>
      </p:sp>
      <p:grpSp>
        <p:nvGrpSpPr>
          <p:cNvPr id="32" name="Grupo 31"/>
          <p:cNvGrpSpPr/>
          <p:nvPr/>
        </p:nvGrpSpPr>
        <p:grpSpPr>
          <a:xfrm>
            <a:off x="1832447" y="6096873"/>
            <a:ext cx="2550910" cy="723500"/>
            <a:chOff x="1858735" y="4600295"/>
            <a:chExt cx="4045330" cy="1308366"/>
          </a:xfrm>
        </p:grpSpPr>
        <p:pic>
          <p:nvPicPr>
            <p:cNvPr id="34" name="Picture 33" descr="PwC_PC_Spain_Barcelona_MB_033.bmp"/>
            <p:cNvPicPr>
              <a:picLocks noChangeAspect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-1" b="42135"/>
            <a:stretch/>
          </p:blipFill>
          <p:spPr>
            <a:xfrm>
              <a:off x="4537202" y="4625235"/>
              <a:ext cx="1366863" cy="1258487"/>
            </a:xfrm>
            <a:prstGeom prst="diamond">
              <a:avLst/>
            </a:prstGeom>
          </p:spPr>
        </p:pic>
        <p:pic>
          <p:nvPicPr>
            <p:cNvPr id="35" name="Picture 3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830"/>
            <a:stretch/>
          </p:blipFill>
          <p:spPr>
            <a:xfrm>
              <a:off x="1858735" y="4633088"/>
              <a:ext cx="1312332" cy="1242780"/>
            </a:xfrm>
            <a:prstGeom prst="diamond">
              <a:avLst/>
            </a:prstGeom>
          </p:spPr>
        </p:pic>
        <p:pic>
          <p:nvPicPr>
            <p:cNvPr id="40" name="Picture 37" descr="PwC_Swiz_Zurich_C_MB_48.bmp"/>
            <p:cNvPicPr>
              <a:picLocks noChangeAspect="1"/>
            </p:cNvPicPr>
            <p:nvPr/>
          </p:nvPicPr>
          <p:blipFill rotWithShape="1"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33721" r="43333" b="8283"/>
            <a:stretch/>
          </p:blipFill>
          <p:spPr>
            <a:xfrm>
              <a:off x="3186305" y="4600295"/>
              <a:ext cx="1341523" cy="1308366"/>
            </a:xfrm>
            <a:prstGeom prst="diamond">
              <a:avLst/>
            </a:prstGeom>
          </p:spPr>
        </p:pic>
      </p:grpSp>
      <p:grpSp>
        <p:nvGrpSpPr>
          <p:cNvPr id="41" name="Grupo 40"/>
          <p:cNvGrpSpPr/>
          <p:nvPr/>
        </p:nvGrpSpPr>
        <p:grpSpPr>
          <a:xfrm>
            <a:off x="8423701" y="6104246"/>
            <a:ext cx="2677154" cy="708750"/>
            <a:chOff x="6660668" y="4606266"/>
            <a:chExt cx="4018451" cy="1296424"/>
          </a:xfrm>
        </p:grpSpPr>
        <p:pic>
          <p:nvPicPr>
            <p:cNvPr id="42" name="Picture 2" descr="http://bluecell.es/clientes/procuradores/img/sede-actual/sede1.jpg"/>
            <p:cNvPicPr>
              <a:picLocks noChangeAspect="1" noChangeArrowheads="1"/>
            </p:cNvPicPr>
            <p:nvPr/>
          </p:nvPicPr>
          <p:blipFill rotWithShape="1"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3530"/>
            <a:stretch/>
          </p:blipFill>
          <p:spPr bwMode="auto">
            <a:xfrm>
              <a:off x="9352561" y="4606266"/>
              <a:ext cx="1326558" cy="1296424"/>
            </a:xfrm>
            <a:prstGeom prst="diamond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3" name="Picture 4" descr="http://bluecell.es/clientes/procuradores/img/sede-actual/sede8.jpg"/>
            <p:cNvPicPr>
              <a:picLocks noChangeAspect="1" noChangeArrowheads="1"/>
            </p:cNvPicPr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036925" y="4606266"/>
              <a:ext cx="1337614" cy="1296424"/>
            </a:xfrm>
            <a:prstGeom prst="diamond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4" name="Picture 6" descr="http://bluecell.es/clientes/procuradores/img/sede-actual/sede6.jpg"/>
            <p:cNvPicPr>
              <a:picLocks noChangeAspect="1" noChangeArrowheads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44163"/>
            <a:stretch/>
          </p:blipFill>
          <p:spPr bwMode="auto">
            <a:xfrm>
              <a:off x="6660668" y="4606266"/>
              <a:ext cx="1333696" cy="1296424"/>
            </a:xfrm>
            <a:prstGeom prst="diamond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45" name="Title 1"/>
          <p:cNvSpPr txBox="1">
            <a:spLocks/>
          </p:cNvSpPr>
          <p:nvPr/>
        </p:nvSpPr>
        <p:spPr>
          <a:xfrm>
            <a:off x="4014878" y="6310938"/>
            <a:ext cx="4633761" cy="74323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defPPr>
              <a:defRPr lang="en-US"/>
            </a:defPPr>
            <a:lvl1pPr marL="285750" indent="-285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ü"/>
              <a:defRPr sz="1300">
                <a:solidFill>
                  <a:schemeClr val="bg2"/>
                </a:solidFill>
                <a:latin typeface="Georgia" panose="02040502050405020303" pitchFamily="18" charset="0"/>
                <a:ea typeface="+mj-ea"/>
                <a:cs typeface="+mj-cs"/>
              </a:defRPr>
            </a:lvl1pPr>
          </a:lstStyle>
          <a:p>
            <a:pPr marL="0" indent="0" algn="ctr">
              <a:buNone/>
            </a:pPr>
            <a:r>
              <a:rPr lang="es-ES" sz="1200" dirty="0"/>
              <a:t>https://portalprocuradorescertificacion.cgpe.es/</a:t>
            </a:r>
            <a:endParaRPr lang="es-ES" sz="1200" dirty="0"/>
          </a:p>
        </p:txBody>
      </p:sp>
    </p:spTree>
    <p:extLst>
      <p:ext uri="{BB962C8B-B14F-4D97-AF65-F5344CB8AC3E}">
        <p14:creationId xmlns:p14="http://schemas.microsoft.com/office/powerpoint/2010/main" val="1706005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_qu6PPRfjEOxN4czDL8HmA"/>
</p:tagLst>
</file>

<file path=ppt/theme/theme1.xml><?xml version="1.0" encoding="utf-8"?>
<a:theme xmlns:a="http://schemas.openxmlformats.org/drawingml/2006/main" name="PwC">
  <a:themeElements>
    <a:clrScheme name="PwC Orange">
      <a:dk1>
        <a:srgbClr val="000000"/>
      </a:dk1>
      <a:lt1>
        <a:srgbClr val="FFFFFF"/>
      </a:lt1>
      <a:dk2>
        <a:srgbClr val="DC6900"/>
      </a:dk2>
      <a:lt2>
        <a:srgbClr val="FFFFFF"/>
      </a:lt2>
      <a:accent1>
        <a:srgbClr val="DC6900"/>
      </a:accent1>
      <a:accent2>
        <a:srgbClr val="FFB600"/>
      </a:accent2>
      <a:accent3>
        <a:srgbClr val="602320"/>
      </a:accent3>
      <a:accent4>
        <a:srgbClr val="E27588"/>
      </a:accent4>
      <a:accent5>
        <a:srgbClr val="A32020"/>
      </a:accent5>
      <a:accent6>
        <a:srgbClr val="E0301E"/>
      </a:accent6>
      <a:hlink>
        <a:srgbClr val="0000FF"/>
      </a:hlink>
      <a:folHlink>
        <a:srgbClr val="0000FF"/>
      </a:folHlink>
    </a:clrScheme>
    <a:fontScheme name="PwC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ltGray">
        <a:solidFill>
          <a:schemeClr val="tx2"/>
        </a:solidFill>
        <a:ln w="3175"/>
      </a:spPr>
      <a:bodyPr rtlCol="0" anchor="ctr"/>
      <a:lstStyle>
        <a:defPPr algn="ctr">
          <a:defRPr dirty="0" err="1" smtClean="0">
            <a:solidFill>
              <a:schemeClr val="bg1"/>
            </a:solidFill>
            <a:latin typeface="Georgia" pitchFamily="18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indent="-274320">
          <a:spcAft>
            <a:spcPts val="900"/>
          </a:spcAft>
          <a:defRPr sz="2000" dirty="0" err="1" smtClean="0">
            <a:latin typeface="Georgia" pitchFamily="18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B94186EA-B0B2-4E41-A351-6242F0C72D9D}" vid="{E142F899-578D-4885-93C2-118BB84F8808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04</TotalTime>
  <Words>612</Words>
  <Application>Microsoft Office PowerPoint</Application>
  <PresentationFormat>Panorámica</PresentationFormat>
  <Paragraphs>72</Paragraphs>
  <Slides>2</Slides>
  <Notes>0</Notes>
  <HiddenSlides>0</HiddenSlides>
  <MMClips>0</MMClips>
  <ScaleCrop>false</ScaleCrop>
  <HeadingPairs>
    <vt:vector size="6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7" baseType="lpstr">
      <vt:lpstr>Arial</vt:lpstr>
      <vt:lpstr>Calibri</vt:lpstr>
      <vt:lpstr>Georgia</vt:lpstr>
      <vt:lpstr>Wingdings</vt:lpstr>
      <vt:lpstr>PwC</vt:lpstr>
      <vt:lpstr>Presentación de PowerPoint</vt:lpstr>
      <vt:lpstr>Presentación de PowerPoint</vt:lpstr>
    </vt:vector>
  </TitlesOfParts>
  <Company>PricewaterhouseCoopers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uan Morales Monte</dc:creator>
  <cp:lastModifiedBy>Juan Morales Monte</cp:lastModifiedBy>
  <cp:revision>81</cp:revision>
  <dcterms:created xsi:type="dcterms:W3CDTF">2017-01-18T10:19:04Z</dcterms:created>
  <dcterms:modified xsi:type="dcterms:W3CDTF">2017-09-25T09:17:10Z</dcterms:modified>
</cp:coreProperties>
</file>